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6" r:id="rId5"/>
    <p:sldMasterId id="2147483722" r:id="rId6"/>
  </p:sldMasterIdLst>
  <p:notesMasterIdLst>
    <p:notesMasterId r:id="rId16"/>
  </p:notesMasterIdLst>
  <p:handoutMasterIdLst>
    <p:handoutMasterId r:id="rId17"/>
  </p:handoutMasterIdLst>
  <p:sldIdLst>
    <p:sldId id="395" r:id="rId7"/>
    <p:sldId id="355" r:id="rId8"/>
    <p:sldId id="388" r:id="rId9"/>
    <p:sldId id="389" r:id="rId10"/>
    <p:sldId id="424" r:id="rId11"/>
    <p:sldId id="421" r:id="rId12"/>
    <p:sldId id="422" r:id="rId13"/>
    <p:sldId id="423" r:id="rId14"/>
    <p:sldId id="369" r:id="rId15"/>
  </p:sldIdLst>
  <p:sldSz cx="12192000" cy="6858000"/>
  <p:notesSz cx="6797675" cy="9929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rporate Presentation" id="{A68CD5D7-D99A-1B4F-9657-97E4DD27F1D0}">
          <p14:sldIdLst>
            <p14:sldId id="395"/>
            <p14:sldId id="355"/>
            <p14:sldId id="388"/>
            <p14:sldId id="389"/>
            <p14:sldId id="424"/>
            <p14:sldId id="421"/>
            <p14:sldId id="422"/>
            <p14:sldId id="423"/>
            <p14:sldId id="369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1661" userDrawn="1">
          <p15:clr>
            <a:srgbClr val="A4A3A4"/>
          </p15:clr>
        </p15:guide>
        <p15:guide id="5" orient="horz" pos="2795" userDrawn="1">
          <p15:clr>
            <a:srgbClr val="A4A3A4"/>
          </p15:clr>
        </p15:guide>
        <p15:guide id="6" orient="horz" pos="2976" userDrawn="1">
          <p15:clr>
            <a:srgbClr val="A4A3A4"/>
          </p15:clr>
        </p15:guide>
        <p15:guide id="7" orient="horz" pos="1888" userDrawn="1">
          <p15:clr>
            <a:srgbClr val="A4A3A4"/>
          </p15:clr>
        </p15:guide>
        <p15:guide id="8" orient="horz" pos="2069" userDrawn="1">
          <p15:clr>
            <a:srgbClr val="A4A3A4"/>
          </p15:clr>
        </p15:guide>
        <p15:guide id="10" pos="4747" userDrawn="1">
          <p15:clr>
            <a:srgbClr val="A4A3A4"/>
          </p15:clr>
        </p15:guide>
        <p15:guide id="12" pos="3840" userDrawn="1">
          <p15:clr>
            <a:srgbClr val="A4A3A4"/>
          </p15:clr>
        </p15:guide>
        <p15:guide id="13" pos="5462" userDrawn="1">
          <p15:clr>
            <a:srgbClr val="A4A3A4"/>
          </p15:clr>
        </p15:guide>
        <p15:guide id="14" pos="1918" userDrawn="1">
          <p15:clr>
            <a:srgbClr val="A4A3A4"/>
          </p15:clr>
        </p15:guide>
        <p15:guide id="15" pos="5758" userDrawn="1">
          <p15:clr>
            <a:srgbClr val="A4A3A4"/>
          </p15:clr>
        </p15:guide>
        <p15:guide id="16" orient="horz" pos="15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egren Cathrine" initials="SC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40" autoAdjust="0"/>
    <p:restoredTop sz="75467" autoAdjust="0"/>
  </p:normalViewPr>
  <p:slideViewPr>
    <p:cSldViewPr snapToGrid="0">
      <p:cViewPr varScale="1">
        <p:scale>
          <a:sx n="105" d="100"/>
          <a:sy n="105" d="100"/>
        </p:scale>
        <p:origin x="990" y="120"/>
      </p:cViewPr>
      <p:guideLst>
        <p:guide orient="horz" pos="1661"/>
        <p:guide orient="horz" pos="2795"/>
        <p:guide orient="horz" pos="2976"/>
        <p:guide orient="horz" pos="1888"/>
        <p:guide orient="horz" pos="2069"/>
        <p:guide pos="4747"/>
        <p:guide pos="3840"/>
        <p:guide pos="5462"/>
        <p:guide pos="1918"/>
        <p:guide pos="5758"/>
        <p:guide orient="horz" pos="1502"/>
      </p:guideLst>
    </p:cSldViewPr>
  </p:slideViewPr>
  <p:outlineViewPr>
    <p:cViewPr>
      <p:scale>
        <a:sx n="33" d="100"/>
        <a:sy n="33" d="100"/>
      </p:scale>
      <p:origin x="0" y="-1684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96" d="100"/>
          <a:sy n="96" d="100"/>
        </p:scale>
        <p:origin x="251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A-8D46-9280-6D4DCB3271B3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72A-8D46-9280-6D4DCB3271B3}"/>
              </c:ext>
            </c:extLst>
          </c:dPt>
          <c:dPt>
            <c:idx val="2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72A-8D46-9280-6D4DCB3271B3}"/>
              </c:ext>
            </c:extLst>
          </c:dPt>
          <c:dPt>
            <c:idx val="3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72A-8D46-9280-6D4DCB3271B3}"/>
              </c:ext>
            </c:extLst>
          </c:dPt>
          <c:cat>
            <c:strRef>
              <c:f>Blad1!$A$2:$A$5</c:f>
              <c:strCache>
                <c:ptCount val="4"/>
                <c:pt idx="0">
                  <c:v>Industry</c:v>
                </c:pt>
                <c:pt idx="1">
                  <c:v>Infrastructure</c:v>
                </c:pt>
                <c:pt idx="2">
                  <c:v>Digital solutions</c:v>
                </c:pt>
                <c:pt idx="3">
                  <c:v>Energy</c:v>
                </c:pt>
              </c:strCache>
            </c:strRef>
          </c:cat>
          <c:val>
            <c:numRef>
              <c:f>Blad1!$B$2:$B$5</c:f>
              <c:numCache>
                <c:formatCode>0%</c:formatCode>
                <c:ptCount val="4"/>
                <c:pt idx="0">
                  <c:v>0.34</c:v>
                </c:pt>
                <c:pt idx="1">
                  <c:v>0.39</c:v>
                </c:pt>
                <c:pt idx="2">
                  <c:v>0.16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2A-8D46-9280-6D4DCB3271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CB67E4A-5177-4C80-92B4-51BD5593B0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FFF9C8-B4CA-457D-AE9B-2D30E612B3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16228-B7CF-47CF-A4AD-D4BB307F0AFE}" type="datetimeFigureOut">
              <a:rPr lang="en-GB" smtClean="0"/>
              <a:t>28/11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6B9E0E-BBD1-44C0-8EAA-4085861F684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1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37FE9B-8273-4C75-8F5A-4C40F4B79C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31601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B6E434-8160-4CED-AB39-C7225611EB5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7327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142CCA-F011-46CA-B4AE-D8CB4AFC968E}" type="datetimeFigureOut">
              <a:rPr lang="en-GB" smtClean="0"/>
              <a:t>28/11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601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1601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41C740-7330-441A-80F0-A683365F947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17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2905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8792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1C740-7330-441A-80F0-A683365F9479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45045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1C740-7330-441A-80F0-A683365F9479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379862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1C740-7330-441A-80F0-A683365F9479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23194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Shape 487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88" name="Shape 48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459997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Shape 487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88" name="Shape 48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1449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638425"/>
            <a:ext cx="7104062" cy="2566241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6000" spc="-130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F727A2-B4ED-4682-9FD9-700B666D5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9788" y="5711353"/>
            <a:ext cx="2855913" cy="365125"/>
          </a:xfrm>
        </p:spPr>
        <p:txBody>
          <a:bodyPr/>
          <a:lstStyle>
            <a:lvl1pPr algn="l">
              <a:defRPr sz="1600" spc="1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DB441-984C-449D-ABE3-7DA469824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F724D5B-10F1-5C48-AC6E-B1831C50D639}" type="datetime1">
              <a:rPr lang="sv-SE" smtClean="0"/>
              <a:t>2019-11-28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726448-EA3C-4300-886D-1B5C494BDD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459"/>
            <a:ext cx="478800" cy="479167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140E88E6-D661-47C4-A5F7-6FB8E828124D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724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4BECCE-BA3B-4C2F-AE45-4B884DF067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63594"/>
            <a:ext cx="6167437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6136" y="2771773"/>
            <a:ext cx="4764088" cy="3041651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7569" y="1"/>
            <a:ext cx="4974431" cy="34313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0490818-E997-44E1-96DC-F1AE0EFCAC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17567" y="3429000"/>
            <a:ext cx="4974431" cy="23828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798AC-0DA3-E94F-B14D-B4B3A4257ACE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924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63594"/>
            <a:ext cx="5257800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6137" y="2771774"/>
            <a:ext cx="5000625" cy="3375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8EA0199F-14F6-49BD-AB83-7F5D3C38B8EC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51588" y="2039826"/>
            <a:ext cx="5000625" cy="4106974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DA772-0EA4-EE4D-8B0E-E03CB9481A29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0056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1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090520C-4F8F-4CAE-99E9-CC0C65AC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2272" y="1"/>
            <a:ext cx="11709728" cy="6858000"/>
          </a:xfrm>
          <a:custGeom>
            <a:avLst/>
            <a:gdLst>
              <a:gd name="connsiteX0" fmla="*/ 4430719 w 4442650"/>
              <a:gd name="connsiteY0" fmla="*/ 0 h 2601913"/>
              <a:gd name="connsiteX1" fmla="*/ 4442650 w 4442650"/>
              <a:gd name="connsiteY1" fmla="*/ 0 h 2601913"/>
              <a:gd name="connsiteX2" fmla="*/ 4442650 w 4442650"/>
              <a:gd name="connsiteY2" fmla="*/ 2601913 h 2601913"/>
              <a:gd name="connsiteX3" fmla="*/ 4290976 w 4442650"/>
              <a:gd name="connsiteY3" fmla="*/ 2601913 h 2601913"/>
              <a:gd name="connsiteX4" fmla="*/ 3918774 w 4442650"/>
              <a:gd name="connsiteY4" fmla="*/ 1955800 h 2601913"/>
              <a:gd name="connsiteX5" fmla="*/ 2820319 w 4442650"/>
              <a:gd name="connsiteY5" fmla="*/ 2601913 h 2601913"/>
              <a:gd name="connsiteX6" fmla="*/ 0 w 4442650"/>
              <a:gd name="connsiteY6" fmla="*/ 2601913 h 260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2650" h="2601913">
                <a:moveTo>
                  <a:pt x="4430719" y="0"/>
                </a:moveTo>
                <a:lnTo>
                  <a:pt x="4442650" y="0"/>
                </a:lnTo>
                <a:lnTo>
                  <a:pt x="4442650" y="2601913"/>
                </a:lnTo>
                <a:lnTo>
                  <a:pt x="4290976" y="2601913"/>
                </a:lnTo>
                <a:lnTo>
                  <a:pt x="3918774" y="1955800"/>
                </a:lnTo>
                <a:lnTo>
                  <a:pt x="2820319" y="2601913"/>
                </a:lnTo>
                <a:lnTo>
                  <a:pt x="0" y="2601913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EC6893-3D6F-AC49-B873-F21AE9CA4F3B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AB6FE4-4128-4F5D-BB64-1E1E1C8B55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8589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2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6212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2CF9E30-0DAB-4ADB-AA95-4092F2EAB81A}"/>
              </a:ext>
            </a:extLst>
          </p:cNvPr>
          <p:cNvSpPr>
            <a:spLocks/>
          </p:cNvSpPr>
          <p:nvPr userDrawn="1"/>
        </p:nvSpPr>
        <p:spPr bwMode="auto">
          <a:xfrm>
            <a:off x="4817802" y="0"/>
            <a:ext cx="7374198" cy="6858000"/>
          </a:xfrm>
          <a:custGeom>
            <a:avLst/>
            <a:gdLst>
              <a:gd name="connsiteX0" fmla="*/ 0 w 3091360"/>
              <a:gd name="connsiteY0" fmla="*/ 0 h 2874963"/>
              <a:gd name="connsiteX1" fmla="*/ 3091360 w 3091360"/>
              <a:gd name="connsiteY1" fmla="*/ 0 h 2874963"/>
              <a:gd name="connsiteX2" fmla="*/ 3091360 w 3091360"/>
              <a:gd name="connsiteY2" fmla="*/ 2874963 h 2874963"/>
              <a:gd name="connsiteX3" fmla="*/ 1761209 w 3091360"/>
              <a:gd name="connsiteY3" fmla="*/ 2874963 h 2874963"/>
              <a:gd name="connsiteX4" fmla="*/ 2189659 w 3091360"/>
              <a:gd name="connsiteY4" fmla="*/ 1276350 h 2874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1360" h="2874963">
                <a:moveTo>
                  <a:pt x="0" y="0"/>
                </a:moveTo>
                <a:lnTo>
                  <a:pt x="3091360" y="0"/>
                </a:lnTo>
                <a:lnTo>
                  <a:pt x="3091360" y="2874963"/>
                </a:lnTo>
                <a:lnTo>
                  <a:pt x="1761209" y="2874963"/>
                </a:lnTo>
                <a:lnTo>
                  <a:pt x="2189659" y="1276350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24BF81-F0ED-E841-BF1D-91F3EA8752F1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5C758B-0E4E-4E7C-9D7F-83EB46335D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1178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3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46928"/>
            <a:ext cx="5256213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C7F68A-10B6-43A2-A632-437EA1289A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99644" y="0"/>
            <a:ext cx="5292355" cy="6858000"/>
          </a:xfrm>
          <a:custGeom>
            <a:avLst/>
            <a:gdLst>
              <a:gd name="connsiteX0" fmla="*/ 3425825 w 3541713"/>
              <a:gd name="connsiteY0" fmla="*/ 0 h 4589463"/>
              <a:gd name="connsiteX1" fmla="*/ 3541713 w 3541713"/>
              <a:gd name="connsiteY1" fmla="*/ 2933 h 4589463"/>
              <a:gd name="connsiteX2" fmla="*/ 3541713 w 3541713"/>
              <a:gd name="connsiteY2" fmla="*/ 2063259 h 4589463"/>
              <a:gd name="connsiteX3" fmla="*/ 3425825 w 3541713"/>
              <a:gd name="connsiteY3" fmla="*/ 2057400 h 4589463"/>
              <a:gd name="connsiteX4" fmla="*/ 2055812 w 3541713"/>
              <a:gd name="connsiteY4" fmla="*/ 3429000 h 4589463"/>
              <a:gd name="connsiteX5" fmla="*/ 2659838 w 3541713"/>
              <a:gd name="connsiteY5" fmla="*/ 4566353 h 4589463"/>
              <a:gd name="connsiteX6" fmla="*/ 2697835 w 3541713"/>
              <a:gd name="connsiteY6" fmla="*/ 4589463 h 4589463"/>
              <a:gd name="connsiteX7" fmla="*/ 205498 w 3541713"/>
              <a:gd name="connsiteY7" fmla="*/ 4589463 h 4589463"/>
              <a:gd name="connsiteX8" fmla="*/ 154019 w 3541713"/>
              <a:gd name="connsiteY8" fmla="*/ 4448680 h 4589463"/>
              <a:gd name="connsiteX9" fmla="*/ 0 w 3541713"/>
              <a:gd name="connsiteY9" fmla="*/ 3429000 h 4589463"/>
              <a:gd name="connsiteX10" fmla="*/ 3425825 w 3541713"/>
              <a:gd name="connsiteY10" fmla="*/ 0 h 45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41713" h="4589463">
                <a:moveTo>
                  <a:pt x="3425825" y="0"/>
                </a:moveTo>
                <a:lnTo>
                  <a:pt x="3541713" y="2933"/>
                </a:lnTo>
                <a:lnTo>
                  <a:pt x="3541713" y="2063259"/>
                </a:lnTo>
                <a:lnTo>
                  <a:pt x="3425825" y="2057400"/>
                </a:lnTo>
                <a:cubicBezTo>
                  <a:pt x="2669188" y="2057400"/>
                  <a:pt x="2055812" y="2671486"/>
                  <a:pt x="2055812" y="3429000"/>
                </a:cubicBezTo>
                <a:cubicBezTo>
                  <a:pt x="2055812" y="3902446"/>
                  <a:pt x="2295412" y="4319866"/>
                  <a:pt x="2659838" y="4566353"/>
                </a:cubicBezTo>
                <a:lnTo>
                  <a:pt x="2697835" y="4589463"/>
                </a:lnTo>
                <a:lnTo>
                  <a:pt x="205498" y="4589463"/>
                </a:lnTo>
                <a:lnTo>
                  <a:pt x="154019" y="4448680"/>
                </a:lnTo>
                <a:cubicBezTo>
                  <a:pt x="53923" y="4126563"/>
                  <a:pt x="0" y="3784085"/>
                  <a:pt x="0" y="3429000"/>
                </a:cubicBezTo>
                <a:cubicBezTo>
                  <a:pt x="0" y="1535216"/>
                  <a:pt x="1533794" y="0"/>
                  <a:pt x="3425825" y="0"/>
                </a:cubicBezTo>
                <a:close/>
              </a:path>
            </a:pathLst>
          </a:custGeom>
          <a:solidFill>
            <a:srgbClr val="40404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FF0000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2BDC91-5BB5-C747-92E7-1FCBDAAF02D5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91F173-3CA5-404A-8D4D-E2B4C820B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0222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attern 1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090520C-4F8F-4CAE-99E9-CC0C65AC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2272" y="1"/>
            <a:ext cx="11709728" cy="6858000"/>
          </a:xfrm>
          <a:custGeom>
            <a:avLst/>
            <a:gdLst>
              <a:gd name="connsiteX0" fmla="*/ 4430719 w 4442650"/>
              <a:gd name="connsiteY0" fmla="*/ 0 h 2601913"/>
              <a:gd name="connsiteX1" fmla="*/ 4442650 w 4442650"/>
              <a:gd name="connsiteY1" fmla="*/ 0 h 2601913"/>
              <a:gd name="connsiteX2" fmla="*/ 4442650 w 4442650"/>
              <a:gd name="connsiteY2" fmla="*/ 2601913 h 2601913"/>
              <a:gd name="connsiteX3" fmla="*/ 4290976 w 4442650"/>
              <a:gd name="connsiteY3" fmla="*/ 2601913 h 2601913"/>
              <a:gd name="connsiteX4" fmla="*/ 3918774 w 4442650"/>
              <a:gd name="connsiteY4" fmla="*/ 1955800 h 2601913"/>
              <a:gd name="connsiteX5" fmla="*/ 2820319 w 4442650"/>
              <a:gd name="connsiteY5" fmla="*/ 2601913 h 2601913"/>
              <a:gd name="connsiteX6" fmla="*/ 0 w 4442650"/>
              <a:gd name="connsiteY6" fmla="*/ 2601913 h 260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2650" h="2601913">
                <a:moveTo>
                  <a:pt x="4430719" y="0"/>
                </a:moveTo>
                <a:lnTo>
                  <a:pt x="4442650" y="0"/>
                </a:lnTo>
                <a:lnTo>
                  <a:pt x="4442650" y="2601913"/>
                </a:lnTo>
                <a:lnTo>
                  <a:pt x="4290976" y="2601913"/>
                </a:lnTo>
                <a:lnTo>
                  <a:pt x="3918774" y="1955800"/>
                </a:lnTo>
                <a:lnTo>
                  <a:pt x="2820319" y="2601913"/>
                </a:lnTo>
                <a:lnTo>
                  <a:pt x="0" y="260191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C57EF-A6F4-DE4D-8E51-49797751661B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49DAEE-D86B-405C-868A-D1263FB2E5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463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pattern 2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2CF9E30-0DAB-4ADB-AA95-4092F2EAB81A}"/>
              </a:ext>
            </a:extLst>
          </p:cNvPr>
          <p:cNvSpPr>
            <a:spLocks/>
          </p:cNvSpPr>
          <p:nvPr userDrawn="1"/>
        </p:nvSpPr>
        <p:spPr bwMode="auto">
          <a:xfrm>
            <a:off x="4817802" y="0"/>
            <a:ext cx="7374198" cy="6858000"/>
          </a:xfrm>
          <a:custGeom>
            <a:avLst/>
            <a:gdLst>
              <a:gd name="connsiteX0" fmla="*/ 0 w 3091360"/>
              <a:gd name="connsiteY0" fmla="*/ 0 h 2874963"/>
              <a:gd name="connsiteX1" fmla="*/ 3091360 w 3091360"/>
              <a:gd name="connsiteY1" fmla="*/ 0 h 2874963"/>
              <a:gd name="connsiteX2" fmla="*/ 3091360 w 3091360"/>
              <a:gd name="connsiteY2" fmla="*/ 2874963 h 2874963"/>
              <a:gd name="connsiteX3" fmla="*/ 1761209 w 3091360"/>
              <a:gd name="connsiteY3" fmla="*/ 2874963 h 2874963"/>
              <a:gd name="connsiteX4" fmla="*/ 2189659 w 3091360"/>
              <a:gd name="connsiteY4" fmla="*/ 1276350 h 2874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1360" h="2874963">
                <a:moveTo>
                  <a:pt x="0" y="0"/>
                </a:moveTo>
                <a:lnTo>
                  <a:pt x="3091360" y="0"/>
                </a:lnTo>
                <a:lnTo>
                  <a:pt x="3091360" y="2874963"/>
                </a:lnTo>
                <a:lnTo>
                  <a:pt x="1761209" y="2874963"/>
                </a:lnTo>
                <a:lnTo>
                  <a:pt x="2189659" y="127635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56E511-A4F2-4675-80E6-B71EC47A8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52E58A6-5401-41C4-86DC-183A41888B9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B35520D-3A02-7B4A-A666-FD96904E68A3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DA97D0B-DC75-454F-B7F7-47891071DE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B43A1D-0873-4D5C-98E2-889E0992C6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6771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attern 3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46928"/>
            <a:ext cx="5256213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C7F68A-10B6-43A2-A632-437EA1289A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99644" y="0"/>
            <a:ext cx="5292355" cy="6858000"/>
          </a:xfrm>
          <a:custGeom>
            <a:avLst/>
            <a:gdLst>
              <a:gd name="connsiteX0" fmla="*/ 3425825 w 3541713"/>
              <a:gd name="connsiteY0" fmla="*/ 0 h 4589463"/>
              <a:gd name="connsiteX1" fmla="*/ 3541713 w 3541713"/>
              <a:gd name="connsiteY1" fmla="*/ 2933 h 4589463"/>
              <a:gd name="connsiteX2" fmla="*/ 3541713 w 3541713"/>
              <a:gd name="connsiteY2" fmla="*/ 2063259 h 4589463"/>
              <a:gd name="connsiteX3" fmla="*/ 3425825 w 3541713"/>
              <a:gd name="connsiteY3" fmla="*/ 2057400 h 4589463"/>
              <a:gd name="connsiteX4" fmla="*/ 2055812 w 3541713"/>
              <a:gd name="connsiteY4" fmla="*/ 3429000 h 4589463"/>
              <a:gd name="connsiteX5" fmla="*/ 2659838 w 3541713"/>
              <a:gd name="connsiteY5" fmla="*/ 4566353 h 4589463"/>
              <a:gd name="connsiteX6" fmla="*/ 2697835 w 3541713"/>
              <a:gd name="connsiteY6" fmla="*/ 4589463 h 4589463"/>
              <a:gd name="connsiteX7" fmla="*/ 205498 w 3541713"/>
              <a:gd name="connsiteY7" fmla="*/ 4589463 h 4589463"/>
              <a:gd name="connsiteX8" fmla="*/ 154019 w 3541713"/>
              <a:gd name="connsiteY8" fmla="*/ 4448680 h 4589463"/>
              <a:gd name="connsiteX9" fmla="*/ 0 w 3541713"/>
              <a:gd name="connsiteY9" fmla="*/ 3429000 h 4589463"/>
              <a:gd name="connsiteX10" fmla="*/ 3425825 w 3541713"/>
              <a:gd name="connsiteY10" fmla="*/ 0 h 45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41713" h="4589463">
                <a:moveTo>
                  <a:pt x="3425825" y="0"/>
                </a:moveTo>
                <a:lnTo>
                  <a:pt x="3541713" y="2933"/>
                </a:lnTo>
                <a:lnTo>
                  <a:pt x="3541713" y="2063259"/>
                </a:lnTo>
                <a:lnTo>
                  <a:pt x="3425825" y="2057400"/>
                </a:lnTo>
                <a:cubicBezTo>
                  <a:pt x="2669188" y="2057400"/>
                  <a:pt x="2055812" y="2671486"/>
                  <a:pt x="2055812" y="3429000"/>
                </a:cubicBezTo>
                <a:cubicBezTo>
                  <a:pt x="2055812" y="3902446"/>
                  <a:pt x="2295412" y="4319866"/>
                  <a:pt x="2659838" y="4566353"/>
                </a:cubicBezTo>
                <a:lnTo>
                  <a:pt x="2697835" y="4589463"/>
                </a:lnTo>
                <a:lnTo>
                  <a:pt x="205498" y="4589463"/>
                </a:lnTo>
                <a:lnTo>
                  <a:pt x="154019" y="4448680"/>
                </a:lnTo>
                <a:cubicBezTo>
                  <a:pt x="53923" y="4126563"/>
                  <a:pt x="0" y="3784085"/>
                  <a:pt x="0" y="3429000"/>
                </a:cubicBezTo>
                <a:cubicBezTo>
                  <a:pt x="0" y="1535216"/>
                  <a:pt x="1533794" y="0"/>
                  <a:pt x="3425825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A3E45A-E4C2-8E44-9B94-BC5493F7D1C0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7164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large chart &amp; text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BA35-FC71-45D6-B156-4EA30F000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10512426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F7CA95E8-43F2-40F7-B783-12BC81FE055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2039826"/>
            <a:ext cx="5256212" cy="3772012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7632" y="312477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8A37E24-8D15-475D-BEAD-2E77C6BE0C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11367" y="3578072"/>
            <a:ext cx="2955793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43740-7F20-4ED9-B956-8A986F09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876E0-B698-F448-9192-154F48F6D67F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B8D6F1-17C8-4197-A973-3572937F2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24930F-CD45-4F98-B14D-3D0FFE90F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60639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large chart &amp; text white logo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BA35-FC71-45D6-B156-4EA30F000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10512426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F7CA95E8-43F2-40F7-B783-12BC81FE055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2039826"/>
            <a:ext cx="5256212" cy="3772012"/>
          </a:xfrm>
        </p:spPr>
        <p:txBody>
          <a:bodyPr/>
          <a:lstStyle>
            <a:lvl1pPr marL="74612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7632" y="312477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8A37E24-8D15-475D-BEAD-2E77C6BE0C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11367" y="3578072"/>
            <a:ext cx="2955793" cy="1400922"/>
          </a:xfrm>
        </p:spPr>
        <p:txBody>
          <a:bodyPr/>
          <a:lstStyle>
            <a:lvl1pPr>
              <a:defRPr sz="1200" spc="-10" baseline="0">
                <a:solidFill>
                  <a:schemeClr val="bg1"/>
                </a:solidFill>
              </a:defRPr>
            </a:lvl1pPr>
            <a:lvl2pPr>
              <a:defRPr sz="1200" spc="-10" baseline="0">
                <a:solidFill>
                  <a:schemeClr val="bg1"/>
                </a:solidFill>
              </a:defRPr>
            </a:lvl2pPr>
            <a:lvl3pPr>
              <a:defRPr sz="1200" spc="-10" baseline="0">
                <a:solidFill>
                  <a:schemeClr val="bg1"/>
                </a:solidFill>
              </a:defRPr>
            </a:lvl3pPr>
            <a:lvl4pPr>
              <a:defRPr sz="1200" spc="-10" baseline="0">
                <a:solidFill>
                  <a:schemeClr val="bg1"/>
                </a:solidFill>
              </a:defRPr>
            </a:lvl4pPr>
            <a:lvl5pPr>
              <a:defRPr sz="1200" spc="-1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43740-7F20-4ED9-B956-8A986F09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A3E511-B4C5-044F-9E68-166F4EF0F290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B8D6F1-17C8-4197-A973-3572937F2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24930F-CD45-4F98-B14D-3D0FFE90F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72CB68-3012-4C96-A839-09F2FF1AA4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489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169" y="2202310"/>
            <a:ext cx="6843058" cy="2566241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200" spc="-1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F727A2-B4ED-4682-9FD9-700B666D5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9788" y="5711353"/>
            <a:ext cx="2855912" cy="365125"/>
          </a:xfrm>
        </p:spPr>
        <p:txBody>
          <a:bodyPr/>
          <a:lstStyle>
            <a:lvl1pPr algn="l">
              <a:defRPr sz="1600" spc="1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DB441-984C-449D-ABE3-7DA469824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58E3A6-210E-B449-B8D6-2A91BA0AA5FD}" type="datetime1">
              <a:rPr lang="sv-SE" smtClean="0"/>
              <a:t>2019-11-28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09B12C-2E67-4E0A-BFC0-9159443E3C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  <a:noFill/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DC45183D-F325-4599-88C4-C3AF96BEACCA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253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92FD3946-3120-4BC3-8233-4C6EDEDD99FB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935036"/>
            <a:ext cx="7336598" cy="4876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2A3A5BF-4008-4138-852A-57C5F2FB37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52652" y="314763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C65D4B5-E0AE-4F77-86EE-987F15BB74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6387" y="3608551"/>
            <a:ext cx="2955793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0CBB88-096D-4431-A29D-33E89160A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743BE-4006-C04C-B64D-E9D9B15B011D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318EAF-6F5D-4787-B32C-185F5489F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3B8C05-D828-4026-8B00-2FFB725FB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29425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mall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E7A4-54DA-40D6-A74D-48EBAC933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5F0261D-113C-4F2E-87C6-076CB3125414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788" y="2719137"/>
            <a:ext cx="3503612" cy="3094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8436391-FA77-4853-BAF8-159290E45F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8740" y="3147634"/>
            <a:ext cx="280416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D41930D-1316-4781-96F1-0548C964C1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2540" y="3607482"/>
            <a:ext cx="2880360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E67903-7882-4A18-BD5F-6DDD83C39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C8607-EABE-6142-BDB1-1E63CC0ACB39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595DDC-54C9-4B87-A994-599C27A9A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09F42C-815B-46B2-BC13-78964D281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35188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EF675-A26E-4100-A970-9A9A56A83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697E5608-E807-41A6-B6F7-CFDD11DFB576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2701088"/>
            <a:ext cx="10514013" cy="3112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F285D8-DD1C-4EEC-B114-7432E98BF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5309EF-4B3F-3943-8EC5-91287F8B00A1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35988B-90DA-48EF-A57D-484BED232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153B4E-0662-4654-BF25-D2B75FF71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8672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59BAD-08E5-4F6E-9BE2-00E7E0339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B2ACA8D3-48FB-4C4A-B959-4B89F03D0A43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839786" y="2720340"/>
            <a:ext cx="9282111" cy="30930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D97731-7882-4C0E-B106-5B7DE92E4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AD8-02A5-AC47-AC30-E378D59F4753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8C1E7-B9DE-477A-B1AB-762988135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110B52-F067-4B38-8103-05D795ACE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26352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6E843-2A56-485C-BF45-70FB9A06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45ADEF0-509B-47DB-A934-DC40B3BAB2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2499360"/>
            <a:ext cx="4547552" cy="3322320"/>
          </a:xfrm>
        </p:spPr>
        <p:txBody>
          <a:bodyPr/>
          <a:lstStyle>
            <a:lvl1pPr>
              <a:lnSpc>
                <a:spcPct val="114000"/>
              </a:lnSpc>
              <a:defRPr spc="10" baseline="0"/>
            </a:lvl1pPr>
            <a:lvl2pPr>
              <a:lnSpc>
                <a:spcPct val="114000"/>
              </a:lnSpc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46F5C67-9015-45A2-97A9-17FEB758C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88075" y="-1"/>
            <a:ext cx="6003925" cy="5821681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B91E4A-BC30-4A21-878B-633A9F7982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BAEF6-28C1-7F46-8B46-281E392F504F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503DF3-E848-4932-9291-13780E404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AB04B-A862-4B80-98D6-6A12EF91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83516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mall header, 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6E843-2A56-485C-BF45-70FB9A06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9659647-0570-49BF-B861-FC740DA0E1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4232" y="2360039"/>
            <a:ext cx="5823267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50" b="1" cap="all" spc="2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39DA77-6262-4C35-A77D-1DA107235B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2821940"/>
            <a:ext cx="5827712" cy="2989898"/>
          </a:xfrm>
        </p:spPr>
        <p:txBody>
          <a:bodyPr/>
          <a:lstStyle>
            <a:lvl1pPr>
              <a:lnSpc>
                <a:spcPct val="114000"/>
              </a:lnSpc>
              <a:defRPr spc="10" baseline="0">
                <a:solidFill>
                  <a:schemeClr val="tx1"/>
                </a:solidFill>
              </a:defRPr>
            </a:lvl1pPr>
            <a:lvl2pPr>
              <a:lnSpc>
                <a:spcPct val="114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4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4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14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46F5C67-9015-45A2-97A9-17FEB758C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19950" y="-1"/>
            <a:ext cx="4972050" cy="3431381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0AA7CA1-11F1-43EE-A572-A8838EF849A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9950" y="3433762"/>
            <a:ext cx="4972050" cy="2378075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B91E4A-BC30-4A21-878B-633A9F7982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39B7E-A364-644B-BF0E-76626D61D214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503DF3-E848-4932-9291-13780E404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AB04B-A862-4B80-98D6-6A12EF91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66114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12944-F072-440F-ABFE-9A8C4336F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68" y="3021550"/>
            <a:ext cx="6167438" cy="1081088"/>
          </a:xfrm>
        </p:spPr>
        <p:txBody>
          <a:bodyPr/>
          <a:lstStyle>
            <a:lvl1pPr>
              <a:defRPr sz="5900" spc="-110" baseline="0"/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C9FBF4-7CC8-4C07-AEA4-901F0DF6F1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3450" y="6206782"/>
            <a:ext cx="2184399" cy="480305"/>
          </a:xfrm>
          <a:prstGeom prst="rect">
            <a:avLst/>
          </a:prstGeom>
        </p:spPr>
      </p:pic>
      <p:sp>
        <p:nvSpPr>
          <p:cNvPr id="4" name="textruta 5">
            <a:extLst>
              <a:ext uri="{FF2B5EF4-FFF2-40B4-BE49-F238E27FC236}">
                <a16:creationId xmlns:a16="http://schemas.microsoft.com/office/drawing/2014/main" id="{4870C5E8-DC85-4257-9870-F637BDCA7B2E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4764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12944-F072-440F-ABFE-9A8C4336F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68" y="3021550"/>
            <a:ext cx="6167438" cy="1081088"/>
          </a:xfrm>
        </p:spPr>
        <p:txBody>
          <a:bodyPr/>
          <a:lstStyle>
            <a:lvl1pPr>
              <a:defRPr sz="5900" spc="-11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7DF78D-3B3C-41FA-8D7A-3F8DDDC45E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3450" y="6206783"/>
            <a:ext cx="2184399" cy="480305"/>
          </a:xfrm>
          <a:prstGeom prst="rect">
            <a:avLst/>
          </a:prstGeom>
        </p:spPr>
      </p:pic>
      <p:sp>
        <p:nvSpPr>
          <p:cNvPr id="5" name="textruta 5">
            <a:extLst>
              <a:ext uri="{FF2B5EF4-FFF2-40B4-BE49-F238E27FC236}">
                <a16:creationId xmlns:a16="http://schemas.microsoft.com/office/drawing/2014/main" id="{B57A26AF-D4E6-457A-A027-B7A170FDB1B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1155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lin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0848C48-8D01-4784-A892-377C60FA96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80" y="2892288"/>
            <a:ext cx="6565972" cy="107973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F1FB75-56EA-4AB3-BB47-AE76314801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  <p:sp>
        <p:nvSpPr>
          <p:cNvPr id="8" name="textruta 5">
            <a:extLst>
              <a:ext uri="{FF2B5EF4-FFF2-40B4-BE49-F238E27FC236}">
                <a16:creationId xmlns:a16="http://schemas.microsoft.com/office/drawing/2014/main" id="{4B42FC0D-2157-410F-BA60-787CA3709609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3614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line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5B31D5-F0D5-4A89-AAB6-167794C5E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80" y="2892288"/>
            <a:ext cx="6565972" cy="10797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ED2317-BB67-4979-84FB-5E6140E4FB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23E10080-0C6B-4844-B8AD-C1671D31B647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3996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7887952-9F58-441B-8468-DB355939FB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79368" y="863611"/>
            <a:ext cx="22780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7701EDC-D3EB-4D97-96BE-F087996E10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9466" y="1204711"/>
            <a:ext cx="22780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C328841-9716-41B3-8246-F608FF9BFB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6085" y="1691028"/>
            <a:ext cx="2351388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BFA5408-6B9B-43E1-BE54-731A9D362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74532" y="863610"/>
            <a:ext cx="2267677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FD2E46D-5AC5-4E86-9C22-197659ADE9C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74630" y="1204711"/>
            <a:ext cx="2267677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47148CA3-E18E-4A75-8B8A-979CEE3603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1250" y="1693326"/>
            <a:ext cx="2341057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9E15938-2B6C-4278-B494-228309B181A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75799" y="3983560"/>
            <a:ext cx="226529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FA33389-50A6-427B-9981-F9F9D919CF7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78278" y="4323074"/>
            <a:ext cx="2265298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4D5C1F51-0903-4A09-A86B-1C7B79486AD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02518" y="4812563"/>
            <a:ext cx="2341057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82FFE67-B10F-4C88-974B-5CE1EB3AE43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472425" y="3983571"/>
            <a:ext cx="2275625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72E2D59-EDE4-43B4-9BEC-DA03FF3E795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77285" y="4323084"/>
            <a:ext cx="2275625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5E74B6F-4894-4708-8090-EAE2D5F24E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401522" y="4812576"/>
            <a:ext cx="2351388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5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6C2A58-2EDD-40D8-AFD7-5FD18C644B7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092451" y="0"/>
            <a:ext cx="3003549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59BBAAEA-674E-40DB-BD2B-670EDCC2959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00931" y="0"/>
            <a:ext cx="3091071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C50FE064-13B3-4FF3-A346-8FE81184ED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429000"/>
            <a:ext cx="3091071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5BA1ED9-F0C6-46E2-9497-FCE91E5488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2" y="3429000"/>
            <a:ext cx="3003549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1BE580-222B-4C5E-8602-2D7652EA7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EEFD3-5971-584C-AC6E-C43CD43232C8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CDB8D3-CC94-4A35-B717-96CFEAAA8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900894-9B58-4094-8C0F-7EC8C78BA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039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5B422DE-271D-49B5-89A2-0FEA43E94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9987C-FC44-9B41-97D1-F8966BF5EA13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A65AA36-A183-452E-B379-EBDDFCDD8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A1FF8F-8F26-4D5E-BF7C-EB006DA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57138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638425"/>
            <a:ext cx="7104062" cy="2566241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6000" spc="-13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F727A2-B4ED-4682-9FD9-700B666D5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9788" y="5711353"/>
            <a:ext cx="2855913" cy="365125"/>
          </a:xfrm>
        </p:spPr>
        <p:txBody>
          <a:bodyPr/>
          <a:lstStyle>
            <a:lvl1pPr algn="l">
              <a:defRPr sz="1600" spc="1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DB441-984C-449D-ABE3-7DA469824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91C0964-DDE1-40F5-8201-DD49F1E6B451}" type="datetime1">
              <a:rPr lang="sv-SE" smtClean="0"/>
              <a:t>2019-11-28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726448-EA3C-4300-886D-1B5C494BDD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459"/>
            <a:ext cx="478800" cy="479167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140E88E6-D661-47C4-A5F7-6FB8E828124D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3178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169" y="2202310"/>
            <a:ext cx="6843058" cy="2566241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200" spc="-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F727A2-B4ED-4682-9FD9-700B666D5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9788" y="5711353"/>
            <a:ext cx="2855912" cy="365125"/>
          </a:xfrm>
        </p:spPr>
        <p:txBody>
          <a:bodyPr/>
          <a:lstStyle>
            <a:lvl1pPr algn="l">
              <a:defRPr sz="1600" spc="1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DB441-984C-449D-ABE3-7DA469824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917063-8E03-448B-9493-8157856AFE4F}" type="datetime1">
              <a:rPr lang="sv-SE" smtClean="0"/>
              <a:t>2019-11-28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09B12C-2E67-4E0A-BFC0-9159443E3C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  <a:noFill/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DC45183D-F325-4599-88C4-C3AF96BEACCA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2260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7887952-9F58-441B-8468-DB355939FB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79368" y="863611"/>
            <a:ext cx="22780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7701EDC-D3EB-4D97-96BE-F087996E10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9466" y="1204711"/>
            <a:ext cx="22780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C328841-9716-41B3-8246-F608FF9BFB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6085" y="1691028"/>
            <a:ext cx="2351388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BFA5408-6B9B-43E1-BE54-731A9D362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74532" y="863610"/>
            <a:ext cx="2267677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FD2E46D-5AC5-4E86-9C22-197659ADE9C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74630" y="1204711"/>
            <a:ext cx="2267677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47148CA3-E18E-4A75-8B8A-979CEE3603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1250" y="1693326"/>
            <a:ext cx="2341057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9E15938-2B6C-4278-B494-228309B181A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75799" y="3983560"/>
            <a:ext cx="226529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FA33389-50A6-427B-9981-F9F9D919CF7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78278" y="4323074"/>
            <a:ext cx="2265298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4D5C1F51-0903-4A09-A86B-1C7B79486AD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02518" y="4812563"/>
            <a:ext cx="2341057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82FFE67-B10F-4C88-974B-5CE1EB3AE43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472425" y="3983571"/>
            <a:ext cx="2275625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72E2D59-EDE4-43B4-9BEC-DA03FF3E795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77285" y="4323084"/>
            <a:ext cx="2275625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5E74B6F-4894-4708-8090-EAE2D5F24E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401522" y="4812576"/>
            <a:ext cx="2351388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5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6C2A58-2EDD-40D8-AFD7-5FD18C644B7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092451" y="0"/>
            <a:ext cx="3003549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59BBAAEA-674E-40DB-BD2B-670EDCC2959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00931" y="0"/>
            <a:ext cx="3091071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C50FE064-13B3-4FF3-A346-8FE81184ED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429000"/>
            <a:ext cx="3091071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5BA1ED9-F0C6-46E2-9497-FCE91E5488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2" y="3429000"/>
            <a:ext cx="3003549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1BE580-222B-4C5E-8602-2D7652EA7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1DBE6B-9F04-4DD1-9F7A-1631EF11985F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CDB8D3-CC94-4A35-B717-96CFEAAA8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900894-9B58-4094-8C0F-7EC8C78BA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38086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D935B5-BBF3-4955-8380-5132FEBA8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962" y="1003782"/>
            <a:ext cx="4077953" cy="500014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750" spc="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6C16368-8404-49D9-90A9-6C41720A994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7788" y="0"/>
            <a:ext cx="3936206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5FBCC223-4C42-41F1-95EB-5F005751D4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91611" y="0"/>
            <a:ext cx="3100388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D4A4B73-DDEA-4F1F-AED3-029135F48A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58979" y="2994323"/>
            <a:ext cx="3933824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C75F59F4-76B7-4390-9887-1E31284B317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91612" y="2994324"/>
            <a:ext cx="3100388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8CC1BB-8DFF-4DBB-BF4F-62314F8E0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BEDFC-5A04-4488-8F84-43A786C4503A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851EB9-05E1-4A3F-B45F-F202ED063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0D1A51-DF8C-4A8D-BC7B-E75043B6D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1234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703881"/>
            <a:ext cx="7238999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197080"/>
            <a:ext cx="7240586" cy="10810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519FD-21DA-4192-B7DF-90D08C0A9D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20E24A-B8DB-4FC4-9A9A-410684A41D73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31DDFA0-E95A-4042-BF6B-67B86E4E20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7C72C3-ECD5-4FDF-87A6-E0EF6ABB9C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8EA6F5-0169-4F36-B8DA-9D9659CA70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DBE63FB9-D0E0-4CD5-9792-1E09F6B6E6E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3420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703881"/>
            <a:ext cx="6579107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159376"/>
            <a:ext cx="6579107" cy="1081088"/>
          </a:xfrm>
        </p:spPr>
        <p:txBody>
          <a:bodyPr/>
          <a:lstStyle>
            <a:lvl1pPr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F53E1B-4A7E-42B6-8CC1-97704BC9C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A0B9FA4-F6ED-4BB3-A682-816761F1A1FB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ABD472-6679-423B-B9CD-FDC0D9CDD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ADB193-1508-416F-AA0A-5DEC4231D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ruta 5">
            <a:extLst>
              <a:ext uri="{FF2B5EF4-FFF2-40B4-BE49-F238E27FC236}">
                <a16:creationId xmlns:a16="http://schemas.microsoft.com/office/drawing/2014/main" id="{6C2DC63D-E8D1-42AA-A69C-C09F9E36A5F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C34795-D03B-488A-8D97-1C5EF85A1433}"/>
              </a:ext>
            </a:extLst>
          </p:cNvPr>
          <p:cNvCxnSpPr>
            <a:cxnSpLocks/>
          </p:cNvCxnSpPr>
          <p:nvPr userDrawn="1"/>
        </p:nvCxnSpPr>
        <p:spPr>
          <a:xfrm>
            <a:off x="11120438" y="6512721"/>
            <a:ext cx="0" cy="6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15575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&amp;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2500"/>
            <a:ext cx="6167438" cy="10873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DDC5608-1E5B-4798-882C-8871279D4D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6167" y="4110087"/>
            <a:ext cx="198120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2916970-28B6-4083-A77E-DF5A1B0199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9967" y="4552361"/>
            <a:ext cx="1981200" cy="1451563"/>
          </a:xfrm>
        </p:spPr>
        <p:txBody>
          <a:bodyPr/>
          <a:lstStyle>
            <a:lvl1pPr>
              <a:lnSpc>
                <a:spcPct val="105000"/>
              </a:lnSpc>
              <a:spcBef>
                <a:spcPts val="400"/>
              </a:spcBef>
              <a:defRPr sz="1200" spc="-10" baseline="0"/>
            </a:lvl1pPr>
            <a:lvl2pPr>
              <a:spcBef>
                <a:spcPts val="400"/>
              </a:spcBef>
              <a:defRPr sz="1200" spc="-10" baseline="0"/>
            </a:lvl2pPr>
            <a:lvl3pPr>
              <a:spcBef>
                <a:spcPts val="400"/>
              </a:spcBef>
              <a:defRPr sz="1200" spc="-10" baseline="0"/>
            </a:lvl3pPr>
            <a:lvl4pPr>
              <a:spcBef>
                <a:spcPts val="400"/>
              </a:spcBef>
              <a:defRPr sz="1200" spc="-10" baseline="0"/>
            </a:lvl4pPr>
            <a:lvl5pPr>
              <a:spcBef>
                <a:spcPts val="400"/>
              </a:spcBef>
              <a:defRPr sz="1200" spc="-1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55B9F54-AAFB-477C-B45F-A05CC5BB8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37795" y="4114899"/>
            <a:ext cx="198120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3995" y="4552361"/>
            <a:ext cx="1981200" cy="1451563"/>
          </a:xfrm>
        </p:spPr>
        <p:txBody>
          <a:bodyPr/>
          <a:lstStyle>
            <a:lvl1pPr>
              <a:lnSpc>
                <a:spcPct val="105000"/>
              </a:lnSpc>
              <a:spcBef>
                <a:spcPts val="400"/>
              </a:spcBef>
              <a:defRPr sz="1200" spc="-10" baseline="0"/>
            </a:lvl1pPr>
            <a:lvl2pPr>
              <a:spcBef>
                <a:spcPts val="400"/>
              </a:spcBef>
              <a:defRPr sz="1200" spc="-10" baseline="0"/>
            </a:lvl2pPr>
            <a:lvl3pPr>
              <a:spcBef>
                <a:spcPts val="400"/>
              </a:spcBef>
              <a:defRPr sz="1200" spc="-10" baseline="0"/>
            </a:lvl3pPr>
            <a:lvl4pPr>
              <a:spcBef>
                <a:spcPts val="400"/>
              </a:spcBef>
              <a:defRPr sz="1200" spc="-10" baseline="0"/>
            </a:lvl4pPr>
            <a:lvl5pPr>
              <a:spcBef>
                <a:spcPts val="400"/>
              </a:spcBef>
              <a:defRPr sz="1200" spc="-1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6775" y="-1"/>
            <a:ext cx="4975225" cy="60039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B782D3-CF8E-4516-AA83-FD3EEFC1364F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5290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FBC685E-8A4F-4757-8C7D-B980F08D7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13706" y="2235401"/>
            <a:ext cx="7364588" cy="1986079"/>
          </a:xfrm>
        </p:spPr>
        <p:txBody>
          <a:bodyPr>
            <a:normAutofit/>
          </a:bodyPr>
          <a:lstStyle>
            <a:lvl1pPr marL="74612" indent="0" algn="ctr">
              <a:lnSpc>
                <a:spcPct val="104000"/>
              </a:lnSpc>
              <a:buNone/>
              <a:defRPr sz="2200" spc="10" baseline="0"/>
            </a:lvl1pPr>
            <a:lvl2pPr algn="ctr">
              <a:defRPr sz="18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2F9A7D-CA23-471C-99DA-319D91170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A7A05F-444D-40F1-BD96-02B6CA9DD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51C17-7A4A-4594-8B17-52293A7BF85D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F8F547-1DCA-4A07-80CB-7C20996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A6365-587D-47AA-BBCA-5F4BFD6606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4300" y="4305300"/>
            <a:ext cx="4343400" cy="349250"/>
          </a:xfrm>
        </p:spPr>
        <p:txBody>
          <a:bodyPr/>
          <a:lstStyle>
            <a:lvl1pPr marL="74612" indent="0" algn="ctr">
              <a:buNone/>
              <a:defRPr sz="1600" cap="all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1118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463594"/>
            <a:ext cx="6167438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6137" y="2771775"/>
            <a:ext cx="4764088" cy="3232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9950" y="1"/>
            <a:ext cx="4972050" cy="6003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83756-9C0D-4A58-B2B7-733F55374505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4133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D935B5-BBF3-4955-8380-5132FEBA8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962" y="1003782"/>
            <a:ext cx="4077953" cy="500014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750" spc="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6C16368-8404-49D9-90A9-6C41720A994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7788" y="0"/>
            <a:ext cx="3936206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5FBCC223-4C42-41F1-95EB-5F005751D4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91611" y="0"/>
            <a:ext cx="3100388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D4A4B73-DDEA-4F1F-AED3-029135F48A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58979" y="2994323"/>
            <a:ext cx="3933824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C75F59F4-76B7-4390-9887-1E31284B317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91612" y="2994324"/>
            <a:ext cx="3100388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8CC1BB-8DFF-4DBB-BF4F-62314F8E0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ADFD7-846A-D747-A794-4C5BC51865AC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851EB9-05E1-4A3F-B45F-F202ED063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0D1A51-DF8C-4A8D-BC7B-E75043B6D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428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-title,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463594"/>
            <a:ext cx="6167438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1C817E-ADD3-4636-8E93-E16F15DEF03D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36819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4BECCE-BA3B-4C2F-AE45-4B884DF067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63594"/>
            <a:ext cx="6167437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6136" y="2771773"/>
            <a:ext cx="4764088" cy="30416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7569" y="1"/>
            <a:ext cx="4974431" cy="34313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0490818-E997-44E1-96DC-F1AE0EFCAC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17567" y="3429000"/>
            <a:ext cx="4974431" cy="23828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B78B4-868E-4D02-AAB4-7669337DC187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55230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63594"/>
            <a:ext cx="5257800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6137" y="2771774"/>
            <a:ext cx="5000625" cy="3375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8EA0199F-14F6-49BD-AB83-7F5D3C38B8EC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51588" y="2039826"/>
            <a:ext cx="5000625" cy="4106974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19C12-D7A9-42C6-ABD8-52F08CA508E1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0226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1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090520C-4F8F-4CAE-99E9-CC0C65AC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2272" y="1"/>
            <a:ext cx="11709728" cy="6858000"/>
          </a:xfrm>
          <a:custGeom>
            <a:avLst/>
            <a:gdLst>
              <a:gd name="connsiteX0" fmla="*/ 4430719 w 4442650"/>
              <a:gd name="connsiteY0" fmla="*/ 0 h 2601913"/>
              <a:gd name="connsiteX1" fmla="*/ 4442650 w 4442650"/>
              <a:gd name="connsiteY1" fmla="*/ 0 h 2601913"/>
              <a:gd name="connsiteX2" fmla="*/ 4442650 w 4442650"/>
              <a:gd name="connsiteY2" fmla="*/ 2601913 h 2601913"/>
              <a:gd name="connsiteX3" fmla="*/ 4290976 w 4442650"/>
              <a:gd name="connsiteY3" fmla="*/ 2601913 h 2601913"/>
              <a:gd name="connsiteX4" fmla="*/ 3918774 w 4442650"/>
              <a:gd name="connsiteY4" fmla="*/ 1955800 h 2601913"/>
              <a:gd name="connsiteX5" fmla="*/ 2820319 w 4442650"/>
              <a:gd name="connsiteY5" fmla="*/ 2601913 h 2601913"/>
              <a:gd name="connsiteX6" fmla="*/ 0 w 4442650"/>
              <a:gd name="connsiteY6" fmla="*/ 2601913 h 260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2650" h="2601913">
                <a:moveTo>
                  <a:pt x="4430719" y="0"/>
                </a:moveTo>
                <a:lnTo>
                  <a:pt x="4442650" y="0"/>
                </a:lnTo>
                <a:lnTo>
                  <a:pt x="4442650" y="2601913"/>
                </a:lnTo>
                <a:lnTo>
                  <a:pt x="4290976" y="2601913"/>
                </a:lnTo>
                <a:lnTo>
                  <a:pt x="3918774" y="1955800"/>
                </a:lnTo>
                <a:lnTo>
                  <a:pt x="2820319" y="2601913"/>
                </a:lnTo>
                <a:lnTo>
                  <a:pt x="0" y="2601913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CE6FFC-0116-4FF5-84D8-9B6F48B98CFF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AB6FE4-4128-4F5D-BB64-1E1E1C8B55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3017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2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6212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2CF9E30-0DAB-4ADB-AA95-4092F2EAB81A}"/>
              </a:ext>
            </a:extLst>
          </p:cNvPr>
          <p:cNvSpPr>
            <a:spLocks/>
          </p:cNvSpPr>
          <p:nvPr userDrawn="1"/>
        </p:nvSpPr>
        <p:spPr bwMode="auto">
          <a:xfrm>
            <a:off x="4817802" y="0"/>
            <a:ext cx="7374198" cy="6858000"/>
          </a:xfrm>
          <a:custGeom>
            <a:avLst/>
            <a:gdLst>
              <a:gd name="connsiteX0" fmla="*/ 0 w 3091360"/>
              <a:gd name="connsiteY0" fmla="*/ 0 h 2874963"/>
              <a:gd name="connsiteX1" fmla="*/ 3091360 w 3091360"/>
              <a:gd name="connsiteY1" fmla="*/ 0 h 2874963"/>
              <a:gd name="connsiteX2" fmla="*/ 3091360 w 3091360"/>
              <a:gd name="connsiteY2" fmla="*/ 2874963 h 2874963"/>
              <a:gd name="connsiteX3" fmla="*/ 1761209 w 3091360"/>
              <a:gd name="connsiteY3" fmla="*/ 2874963 h 2874963"/>
              <a:gd name="connsiteX4" fmla="*/ 2189659 w 3091360"/>
              <a:gd name="connsiteY4" fmla="*/ 1276350 h 2874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1360" h="2874963">
                <a:moveTo>
                  <a:pt x="0" y="0"/>
                </a:moveTo>
                <a:lnTo>
                  <a:pt x="3091360" y="0"/>
                </a:lnTo>
                <a:lnTo>
                  <a:pt x="3091360" y="2874963"/>
                </a:lnTo>
                <a:lnTo>
                  <a:pt x="1761209" y="2874963"/>
                </a:lnTo>
                <a:lnTo>
                  <a:pt x="2189659" y="1276350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51C43A-06C2-4F30-B02B-886ECE00D775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5C758B-0E4E-4E7C-9D7F-83EB46335D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6969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3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46928"/>
            <a:ext cx="5256213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C7F68A-10B6-43A2-A632-437EA1289A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99644" y="0"/>
            <a:ext cx="5292355" cy="6858000"/>
          </a:xfrm>
          <a:custGeom>
            <a:avLst/>
            <a:gdLst>
              <a:gd name="connsiteX0" fmla="*/ 3425825 w 3541713"/>
              <a:gd name="connsiteY0" fmla="*/ 0 h 4589463"/>
              <a:gd name="connsiteX1" fmla="*/ 3541713 w 3541713"/>
              <a:gd name="connsiteY1" fmla="*/ 2933 h 4589463"/>
              <a:gd name="connsiteX2" fmla="*/ 3541713 w 3541713"/>
              <a:gd name="connsiteY2" fmla="*/ 2063259 h 4589463"/>
              <a:gd name="connsiteX3" fmla="*/ 3425825 w 3541713"/>
              <a:gd name="connsiteY3" fmla="*/ 2057400 h 4589463"/>
              <a:gd name="connsiteX4" fmla="*/ 2055812 w 3541713"/>
              <a:gd name="connsiteY4" fmla="*/ 3429000 h 4589463"/>
              <a:gd name="connsiteX5" fmla="*/ 2659838 w 3541713"/>
              <a:gd name="connsiteY5" fmla="*/ 4566353 h 4589463"/>
              <a:gd name="connsiteX6" fmla="*/ 2697835 w 3541713"/>
              <a:gd name="connsiteY6" fmla="*/ 4589463 h 4589463"/>
              <a:gd name="connsiteX7" fmla="*/ 205498 w 3541713"/>
              <a:gd name="connsiteY7" fmla="*/ 4589463 h 4589463"/>
              <a:gd name="connsiteX8" fmla="*/ 154019 w 3541713"/>
              <a:gd name="connsiteY8" fmla="*/ 4448680 h 4589463"/>
              <a:gd name="connsiteX9" fmla="*/ 0 w 3541713"/>
              <a:gd name="connsiteY9" fmla="*/ 3429000 h 4589463"/>
              <a:gd name="connsiteX10" fmla="*/ 3425825 w 3541713"/>
              <a:gd name="connsiteY10" fmla="*/ 0 h 45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41713" h="4589463">
                <a:moveTo>
                  <a:pt x="3425825" y="0"/>
                </a:moveTo>
                <a:lnTo>
                  <a:pt x="3541713" y="2933"/>
                </a:lnTo>
                <a:lnTo>
                  <a:pt x="3541713" y="2063259"/>
                </a:lnTo>
                <a:lnTo>
                  <a:pt x="3425825" y="2057400"/>
                </a:lnTo>
                <a:cubicBezTo>
                  <a:pt x="2669188" y="2057400"/>
                  <a:pt x="2055812" y="2671486"/>
                  <a:pt x="2055812" y="3429000"/>
                </a:cubicBezTo>
                <a:cubicBezTo>
                  <a:pt x="2055812" y="3902446"/>
                  <a:pt x="2295412" y="4319866"/>
                  <a:pt x="2659838" y="4566353"/>
                </a:cubicBezTo>
                <a:lnTo>
                  <a:pt x="2697835" y="4589463"/>
                </a:lnTo>
                <a:lnTo>
                  <a:pt x="205498" y="4589463"/>
                </a:lnTo>
                <a:lnTo>
                  <a:pt x="154019" y="4448680"/>
                </a:lnTo>
                <a:cubicBezTo>
                  <a:pt x="53923" y="4126563"/>
                  <a:pt x="0" y="3784085"/>
                  <a:pt x="0" y="3429000"/>
                </a:cubicBezTo>
                <a:cubicBezTo>
                  <a:pt x="0" y="1535216"/>
                  <a:pt x="1533794" y="0"/>
                  <a:pt x="3425825" y="0"/>
                </a:cubicBezTo>
                <a:close/>
              </a:path>
            </a:pathLst>
          </a:custGeom>
          <a:solidFill>
            <a:srgbClr val="40404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FF0000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936AD1-06F7-4294-B07E-535DF311E315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91F173-3CA5-404A-8D4D-E2B4C820B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05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attern 1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090520C-4F8F-4CAE-99E9-CC0C65AC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2272" y="1"/>
            <a:ext cx="11709728" cy="6858000"/>
          </a:xfrm>
          <a:custGeom>
            <a:avLst/>
            <a:gdLst>
              <a:gd name="connsiteX0" fmla="*/ 4430719 w 4442650"/>
              <a:gd name="connsiteY0" fmla="*/ 0 h 2601913"/>
              <a:gd name="connsiteX1" fmla="*/ 4442650 w 4442650"/>
              <a:gd name="connsiteY1" fmla="*/ 0 h 2601913"/>
              <a:gd name="connsiteX2" fmla="*/ 4442650 w 4442650"/>
              <a:gd name="connsiteY2" fmla="*/ 2601913 h 2601913"/>
              <a:gd name="connsiteX3" fmla="*/ 4290976 w 4442650"/>
              <a:gd name="connsiteY3" fmla="*/ 2601913 h 2601913"/>
              <a:gd name="connsiteX4" fmla="*/ 3918774 w 4442650"/>
              <a:gd name="connsiteY4" fmla="*/ 1955800 h 2601913"/>
              <a:gd name="connsiteX5" fmla="*/ 2820319 w 4442650"/>
              <a:gd name="connsiteY5" fmla="*/ 2601913 h 2601913"/>
              <a:gd name="connsiteX6" fmla="*/ 0 w 4442650"/>
              <a:gd name="connsiteY6" fmla="*/ 2601913 h 260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2650" h="2601913">
                <a:moveTo>
                  <a:pt x="4430719" y="0"/>
                </a:moveTo>
                <a:lnTo>
                  <a:pt x="4442650" y="0"/>
                </a:lnTo>
                <a:lnTo>
                  <a:pt x="4442650" y="2601913"/>
                </a:lnTo>
                <a:lnTo>
                  <a:pt x="4290976" y="2601913"/>
                </a:lnTo>
                <a:lnTo>
                  <a:pt x="3918774" y="1955800"/>
                </a:lnTo>
                <a:lnTo>
                  <a:pt x="2820319" y="2601913"/>
                </a:lnTo>
                <a:lnTo>
                  <a:pt x="0" y="260191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83CBF-41D4-4C7F-8061-502A3BD95571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49DAEE-D86B-405C-868A-D1263FB2E5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8277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pattern 2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2CF9E30-0DAB-4ADB-AA95-4092F2EAB81A}"/>
              </a:ext>
            </a:extLst>
          </p:cNvPr>
          <p:cNvSpPr>
            <a:spLocks/>
          </p:cNvSpPr>
          <p:nvPr userDrawn="1"/>
        </p:nvSpPr>
        <p:spPr bwMode="auto">
          <a:xfrm>
            <a:off x="4817802" y="0"/>
            <a:ext cx="7374198" cy="6858000"/>
          </a:xfrm>
          <a:custGeom>
            <a:avLst/>
            <a:gdLst>
              <a:gd name="connsiteX0" fmla="*/ 0 w 3091360"/>
              <a:gd name="connsiteY0" fmla="*/ 0 h 2874963"/>
              <a:gd name="connsiteX1" fmla="*/ 3091360 w 3091360"/>
              <a:gd name="connsiteY1" fmla="*/ 0 h 2874963"/>
              <a:gd name="connsiteX2" fmla="*/ 3091360 w 3091360"/>
              <a:gd name="connsiteY2" fmla="*/ 2874963 h 2874963"/>
              <a:gd name="connsiteX3" fmla="*/ 1761209 w 3091360"/>
              <a:gd name="connsiteY3" fmla="*/ 2874963 h 2874963"/>
              <a:gd name="connsiteX4" fmla="*/ 2189659 w 3091360"/>
              <a:gd name="connsiteY4" fmla="*/ 1276350 h 2874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1360" h="2874963">
                <a:moveTo>
                  <a:pt x="0" y="0"/>
                </a:moveTo>
                <a:lnTo>
                  <a:pt x="3091360" y="0"/>
                </a:lnTo>
                <a:lnTo>
                  <a:pt x="3091360" y="2874963"/>
                </a:lnTo>
                <a:lnTo>
                  <a:pt x="1761209" y="2874963"/>
                </a:lnTo>
                <a:lnTo>
                  <a:pt x="2189659" y="127635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56E511-A4F2-4675-80E6-B71EC47A8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52E58A6-5401-41C4-86DC-183A41888B9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18CF108-FCD2-4283-92AC-A27A1830985A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DA97D0B-DC75-454F-B7F7-47891071DE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B43A1D-0873-4D5C-98E2-889E0992C6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67927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attern 3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46928"/>
            <a:ext cx="5256213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C7F68A-10B6-43A2-A632-437EA1289A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99644" y="0"/>
            <a:ext cx="5292355" cy="6858000"/>
          </a:xfrm>
          <a:custGeom>
            <a:avLst/>
            <a:gdLst>
              <a:gd name="connsiteX0" fmla="*/ 3425825 w 3541713"/>
              <a:gd name="connsiteY0" fmla="*/ 0 h 4589463"/>
              <a:gd name="connsiteX1" fmla="*/ 3541713 w 3541713"/>
              <a:gd name="connsiteY1" fmla="*/ 2933 h 4589463"/>
              <a:gd name="connsiteX2" fmla="*/ 3541713 w 3541713"/>
              <a:gd name="connsiteY2" fmla="*/ 2063259 h 4589463"/>
              <a:gd name="connsiteX3" fmla="*/ 3425825 w 3541713"/>
              <a:gd name="connsiteY3" fmla="*/ 2057400 h 4589463"/>
              <a:gd name="connsiteX4" fmla="*/ 2055812 w 3541713"/>
              <a:gd name="connsiteY4" fmla="*/ 3429000 h 4589463"/>
              <a:gd name="connsiteX5" fmla="*/ 2659838 w 3541713"/>
              <a:gd name="connsiteY5" fmla="*/ 4566353 h 4589463"/>
              <a:gd name="connsiteX6" fmla="*/ 2697835 w 3541713"/>
              <a:gd name="connsiteY6" fmla="*/ 4589463 h 4589463"/>
              <a:gd name="connsiteX7" fmla="*/ 205498 w 3541713"/>
              <a:gd name="connsiteY7" fmla="*/ 4589463 h 4589463"/>
              <a:gd name="connsiteX8" fmla="*/ 154019 w 3541713"/>
              <a:gd name="connsiteY8" fmla="*/ 4448680 h 4589463"/>
              <a:gd name="connsiteX9" fmla="*/ 0 w 3541713"/>
              <a:gd name="connsiteY9" fmla="*/ 3429000 h 4589463"/>
              <a:gd name="connsiteX10" fmla="*/ 3425825 w 3541713"/>
              <a:gd name="connsiteY10" fmla="*/ 0 h 45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41713" h="4589463">
                <a:moveTo>
                  <a:pt x="3425825" y="0"/>
                </a:moveTo>
                <a:lnTo>
                  <a:pt x="3541713" y="2933"/>
                </a:lnTo>
                <a:lnTo>
                  <a:pt x="3541713" y="2063259"/>
                </a:lnTo>
                <a:lnTo>
                  <a:pt x="3425825" y="2057400"/>
                </a:lnTo>
                <a:cubicBezTo>
                  <a:pt x="2669188" y="2057400"/>
                  <a:pt x="2055812" y="2671486"/>
                  <a:pt x="2055812" y="3429000"/>
                </a:cubicBezTo>
                <a:cubicBezTo>
                  <a:pt x="2055812" y="3902446"/>
                  <a:pt x="2295412" y="4319866"/>
                  <a:pt x="2659838" y="4566353"/>
                </a:cubicBezTo>
                <a:lnTo>
                  <a:pt x="2697835" y="4589463"/>
                </a:lnTo>
                <a:lnTo>
                  <a:pt x="205498" y="4589463"/>
                </a:lnTo>
                <a:lnTo>
                  <a:pt x="154019" y="4448680"/>
                </a:lnTo>
                <a:cubicBezTo>
                  <a:pt x="53923" y="4126563"/>
                  <a:pt x="0" y="3784085"/>
                  <a:pt x="0" y="3429000"/>
                </a:cubicBezTo>
                <a:cubicBezTo>
                  <a:pt x="0" y="1535216"/>
                  <a:pt x="1533794" y="0"/>
                  <a:pt x="3425825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CC805-8FE5-40B9-812A-BA8E18EBD522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5590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large chart &amp; text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BA35-FC71-45D6-B156-4EA30F000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10512426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F7CA95E8-43F2-40F7-B783-12BC81FE055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2039826"/>
            <a:ext cx="5256212" cy="3772012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7632" y="312477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8A37E24-8D15-475D-BEAD-2E77C6BE0C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11367" y="3578072"/>
            <a:ext cx="2955793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43740-7F20-4ED9-B956-8A986F09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410E69-AC00-4F12-9C8D-53E0D27DD734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B8D6F1-17C8-4197-A973-3572937F2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24930F-CD45-4F98-B14D-3D0FFE90F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7537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703881"/>
            <a:ext cx="7238999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197080"/>
            <a:ext cx="7240586" cy="10810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519FD-21DA-4192-B7DF-90D08C0A9D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A3C572-143E-0244-8603-59825E84B6EE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31DDFA0-E95A-4042-BF6B-67B86E4E20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7C72C3-ECD5-4FDF-87A6-E0EF6ABB9C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8EA6F5-0169-4F36-B8DA-9D9659CA70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DBE63FB9-D0E0-4CD5-9792-1E09F6B6E6E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0904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large chart &amp; text white logo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BA35-FC71-45D6-B156-4EA30F000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10512426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F7CA95E8-43F2-40F7-B783-12BC81FE055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2039826"/>
            <a:ext cx="5256212" cy="3772012"/>
          </a:xfrm>
        </p:spPr>
        <p:txBody>
          <a:bodyPr/>
          <a:lstStyle>
            <a:lvl1pPr marL="74612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7632" y="312477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8A37E24-8D15-475D-BEAD-2E77C6BE0C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11367" y="3578072"/>
            <a:ext cx="2955793" cy="1400922"/>
          </a:xfrm>
        </p:spPr>
        <p:txBody>
          <a:bodyPr/>
          <a:lstStyle>
            <a:lvl1pPr>
              <a:defRPr sz="1200" spc="-10" baseline="0">
                <a:solidFill>
                  <a:schemeClr val="bg1"/>
                </a:solidFill>
              </a:defRPr>
            </a:lvl1pPr>
            <a:lvl2pPr>
              <a:defRPr sz="1200" spc="-10" baseline="0">
                <a:solidFill>
                  <a:schemeClr val="bg1"/>
                </a:solidFill>
              </a:defRPr>
            </a:lvl2pPr>
            <a:lvl3pPr>
              <a:defRPr sz="1200" spc="-10" baseline="0">
                <a:solidFill>
                  <a:schemeClr val="bg1"/>
                </a:solidFill>
              </a:defRPr>
            </a:lvl3pPr>
            <a:lvl4pPr>
              <a:defRPr sz="1200" spc="-10" baseline="0">
                <a:solidFill>
                  <a:schemeClr val="bg1"/>
                </a:solidFill>
              </a:defRPr>
            </a:lvl4pPr>
            <a:lvl5pPr>
              <a:defRPr sz="1200" spc="-1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43740-7F20-4ED9-B956-8A986F09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161F6A-0510-4D8C-BF99-C3AF87B6E331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B8D6F1-17C8-4197-A973-3572937F2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24930F-CD45-4F98-B14D-3D0FFE90F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72CB68-3012-4C96-A839-09F2FF1AA4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83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92FD3946-3120-4BC3-8233-4C6EDEDD99FB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935036"/>
            <a:ext cx="7336598" cy="4876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2A3A5BF-4008-4138-852A-57C5F2FB37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52652" y="314763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C65D4B5-E0AE-4F77-86EE-987F15BB74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6387" y="3608551"/>
            <a:ext cx="2955793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0CBB88-096D-4431-A29D-33E89160A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9D531-9405-48AF-90AE-BA9CDE4FA88F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318EAF-6F5D-4787-B32C-185F5489F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3B8C05-D828-4026-8B00-2FFB725FB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73883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mall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E7A4-54DA-40D6-A74D-48EBAC933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5F0261D-113C-4F2E-87C6-076CB3125414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788" y="2719137"/>
            <a:ext cx="3503612" cy="3094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8436391-FA77-4853-BAF8-159290E45F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8740" y="3147634"/>
            <a:ext cx="280416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D41930D-1316-4781-96F1-0548C964C1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2540" y="3607482"/>
            <a:ext cx="2880360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E67903-7882-4A18-BD5F-6DDD83C39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670623-946D-4C0A-AF66-4B9CD084C5C4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595DDC-54C9-4B87-A994-599C27A9A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09F42C-815B-46B2-BC13-78964D281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17126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EF675-A26E-4100-A970-9A9A56A83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697E5608-E807-41A6-B6F7-CFDD11DFB576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2701088"/>
            <a:ext cx="10514013" cy="3112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F285D8-DD1C-4EEC-B114-7432E98BF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71338-1A99-4942-8E36-80D6D27BA446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35988B-90DA-48EF-A57D-484BED232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153B4E-0662-4654-BF25-D2B75FF71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5537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59BAD-08E5-4F6E-9BE2-00E7E0339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B2ACA8D3-48FB-4C4A-B959-4B89F03D0A43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839786" y="2720340"/>
            <a:ext cx="9282111" cy="30930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D97731-7882-4C0E-B106-5B7DE92E4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9808D9-3C0F-41B6-AD49-F66ACB434303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8C1E7-B9DE-477A-B1AB-762988135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110B52-F067-4B38-8103-05D795ACE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5160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6E843-2A56-485C-BF45-70FB9A06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45ADEF0-509B-47DB-A934-DC40B3BAB2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2499360"/>
            <a:ext cx="4547552" cy="3322320"/>
          </a:xfrm>
        </p:spPr>
        <p:txBody>
          <a:bodyPr/>
          <a:lstStyle>
            <a:lvl1pPr>
              <a:lnSpc>
                <a:spcPct val="114000"/>
              </a:lnSpc>
              <a:defRPr spc="10" baseline="0"/>
            </a:lvl1pPr>
            <a:lvl2pPr>
              <a:lnSpc>
                <a:spcPct val="114000"/>
              </a:lnSpc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46F5C67-9015-45A2-97A9-17FEB758C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88075" y="-1"/>
            <a:ext cx="6003925" cy="5821681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B91E4A-BC30-4A21-878B-633A9F7982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1CFAB1-6656-477B-9C8F-2FE8A8C466BC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503DF3-E848-4932-9291-13780E404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AB04B-A862-4B80-98D6-6A12EF91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06486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mall header, 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6E843-2A56-485C-BF45-70FB9A06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9659647-0570-49BF-B861-FC740DA0E1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4232" y="2360039"/>
            <a:ext cx="5823267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50" b="1" cap="all" spc="2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39DA77-6262-4C35-A77D-1DA107235B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2821940"/>
            <a:ext cx="5827712" cy="2989898"/>
          </a:xfrm>
        </p:spPr>
        <p:txBody>
          <a:bodyPr/>
          <a:lstStyle>
            <a:lvl1pPr>
              <a:lnSpc>
                <a:spcPct val="114000"/>
              </a:lnSpc>
              <a:defRPr spc="10" baseline="0">
                <a:solidFill>
                  <a:schemeClr val="tx1"/>
                </a:solidFill>
              </a:defRPr>
            </a:lvl1pPr>
            <a:lvl2pPr>
              <a:lnSpc>
                <a:spcPct val="114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4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4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14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46F5C67-9015-45A2-97A9-17FEB758C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19950" y="-1"/>
            <a:ext cx="4972050" cy="3431381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0AA7CA1-11F1-43EE-A572-A8838EF849A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9950" y="3433762"/>
            <a:ext cx="4972050" cy="2378075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B91E4A-BC30-4A21-878B-633A9F7982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060AEA-27D5-442C-9E26-788986B0F262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503DF3-E848-4932-9291-13780E404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AB04B-A862-4B80-98D6-6A12EF91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585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12944-F072-440F-ABFE-9A8C4336F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68" y="3021550"/>
            <a:ext cx="6167438" cy="1081088"/>
          </a:xfrm>
        </p:spPr>
        <p:txBody>
          <a:bodyPr/>
          <a:lstStyle>
            <a:lvl1pPr>
              <a:defRPr sz="5900" spc="-11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C9FBF4-7CC8-4C07-AEA4-901F0DF6F1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3450" y="6206782"/>
            <a:ext cx="2184399" cy="480305"/>
          </a:xfrm>
          <a:prstGeom prst="rect">
            <a:avLst/>
          </a:prstGeom>
        </p:spPr>
      </p:pic>
      <p:sp>
        <p:nvSpPr>
          <p:cNvPr id="4" name="textruta 5">
            <a:extLst>
              <a:ext uri="{FF2B5EF4-FFF2-40B4-BE49-F238E27FC236}">
                <a16:creationId xmlns:a16="http://schemas.microsoft.com/office/drawing/2014/main" id="{4870C5E8-DC85-4257-9870-F637BDCA7B2E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8455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12944-F072-440F-ABFE-9A8C4336F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68" y="3021550"/>
            <a:ext cx="6167438" cy="1081088"/>
          </a:xfrm>
        </p:spPr>
        <p:txBody>
          <a:bodyPr/>
          <a:lstStyle>
            <a:lvl1pPr>
              <a:defRPr sz="5900" spc="-1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7DF78D-3B3C-41FA-8D7A-3F8DDDC45E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3450" y="6206783"/>
            <a:ext cx="2184399" cy="480305"/>
          </a:xfrm>
          <a:prstGeom prst="rect">
            <a:avLst/>
          </a:prstGeom>
        </p:spPr>
      </p:pic>
      <p:sp>
        <p:nvSpPr>
          <p:cNvPr id="5" name="textruta 5">
            <a:extLst>
              <a:ext uri="{FF2B5EF4-FFF2-40B4-BE49-F238E27FC236}">
                <a16:creationId xmlns:a16="http://schemas.microsoft.com/office/drawing/2014/main" id="{B57A26AF-D4E6-457A-A027-B7A170FDB1B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6560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lin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0848C48-8D01-4784-A892-377C60FA96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80" y="2892288"/>
            <a:ext cx="6565972" cy="107973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F1FB75-56EA-4AB3-BB47-AE76314801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  <p:sp>
        <p:nvSpPr>
          <p:cNvPr id="8" name="textruta 5">
            <a:extLst>
              <a:ext uri="{FF2B5EF4-FFF2-40B4-BE49-F238E27FC236}">
                <a16:creationId xmlns:a16="http://schemas.microsoft.com/office/drawing/2014/main" id="{4B42FC0D-2157-410F-BA60-787CA3709609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42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703881"/>
            <a:ext cx="6579107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159376"/>
            <a:ext cx="6579107" cy="1081088"/>
          </a:xfrm>
        </p:spPr>
        <p:txBody>
          <a:bodyPr/>
          <a:lstStyle>
            <a:lvl1pPr>
              <a:defRPr sz="58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F53E1B-4A7E-42B6-8CC1-97704BC9C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51334A-1AAC-E34D-9BE0-86079A4EA9FC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ABD472-6679-423B-B9CD-FDC0D9CDD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ADB193-1508-416F-AA0A-5DEC4231D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ruta 5">
            <a:extLst>
              <a:ext uri="{FF2B5EF4-FFF2-40B4-BE49-F238E27FC236}">
                <a16:creationId xmlns:a16="http://schemas.microsoft.com/office/drawing/2014/main" id="{6C2DC63D-E8D1-42AA-A69C-C09F9E36A5F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C34795-D03B-488A-8D97-1C5EF85A1433}"/>
              </a:ext>
            </a:extLst>
          </p:cNvPr>
          <p:cNvCxnSpPr>
            <a:cxnSpLocks/>
          </p:cNvCxnSpPr>
          <p:nvPr userDrawn="1"/>
        </p:nvCxnSpPr>
        <p:spPr>
          <a:xfrm>
            <a:off x="11120438" y="6512721"/>
            <a:ext cx="0" cy="6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05383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line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5B31D5-F0D5-4A89-AAB6-167794C5E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80" y="2892288"/>
            <a:ext cx="6565972" cy="10797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ED2317-BB67-4979-84FB-5E6140E4FB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23E10080-0C6B-4844-B8AD-C1671D31B647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873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5B422DE-271D-49B5-89A2-0FEA43E94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0A7DD4-C9F0-469A-A236-B36E710B4D75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A65AA36-A183-452E-B379-EBDDFCDD8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tal Solutions CMD 18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A1FF8F-8F26-4D5E-BF7C-EB006DA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29631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ference slide big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lowchart: Card 7"/>
          <p:cNvSpPr/>
          <p:nvPr userDrawn="1"/>
        </p:nvSpPr>
        <p:spPr>
          <a:xfrm>
            <a:off x="288000" y="288000"/>
            <a:ext cx="11616000" cy="6288000"/>
          </a:xfrm>
          <a:custGeom>
            <a:avLst/>
            <a:gdLst>
              <a:gd name="connsiteX0" fmla="*/ 0 w 10000"/>
              <a:gd name="connsiteY0" fmla="*/ 2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0 w 10000"/>
              <a:gd name="connsiteY0" fmla="*/ 2000 h 10000"/>
              <a:gd name="connsiteX1" fmla="*/ 164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0 w 10000"/>
              <a:gd name="connsiteY0" fmla="*/ 5004 h 10000"/>
              <a:gd name="connsiteX1" fmla="*/ 164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5004 h 10000"/>
              <a:gd name="connsiteX0" fmla="*/ 0 w 10000"/>
              <a:gd name="connsiteY0" fmla="*/ 8225 h 10000"/>
              <a:gd name="connsiteX1" fmla="*/ 164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8225 h 10000"/>
              <a:gd name="connsiteX0" fmla="*/ 0 w 10003"/>
              <a:gd name="connsiteY0" fmla="*/ 10010 h 10010"/>
              <a:gd name="connsiteX1" fmla="*/ 1650 w 10003"/>
              <a:gd name="connsiteY1" fmla="*/ 0 h 10010"/>
              <a:gd name="connsiteX2" fmla="*/ 10003 w 10003"/>
              <a:gd name="connsiteY2" fmla="*/ 0 h 10010"/>
              <a:gd name="connsiteX3" fmla="*/ 10003 w 10003"/>
              <a:gd name="connsiteY3" fmla="*/ 10000 h 10010"/>
              <a:gd name="connsiteX4" fmla="*/ 3 w 10003"/>
              <a:gd name="connsiteY4" fmla="*/ 10000 h 10010"/>
              <a:gd name="connsiteX5" fmla="*/ 0 w 10003"/>
              <a:gd name="connsiteY5" fmla="*/ 10010 h 10010"/>
              <a:gd name="connsiteX0" fmla="*/ 0 w 10003"/>
              <a:gd name="connsiteY0" fmla="*/ 10010 h 10010"/>
              <a:gd name="connsiteX1" fmla="*/ 1412 w 10003"/>
              <a:gd name="connsiteY1" fmla="*/ 5 h 10010"/>
              <a:gd name="connsiteX2" fmla="*/ 10003 w 10003"/>
              <a:gd name="connsiteY2" fmla="*/ 0 h 10010"/>
              <a:gd name="connsiteX3" fmla="*/ 10003 w 10003"/>
              <a:gd name="connsiteY3" fmla="*/ 10000 h 10010"/>
              <a:gd name="connsiteX4" fmla="*/ 3 w 10003"/>
              <a:gd name="connsiteY4" fmla="*/ 10000 h 10010"/>
              <a:gd name="connsiteX5" fmla="*/ 0 w 10003"/>
              <a:gd name="connsiteY5" fmla="*/ 10010 h 1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3" h="10010">
                <a:moveTo>
                  <a:pt x="0" y="10010"/>
                </a:moveTo>
                <a:lnTo>
                  <a:pt x="1412" y="5"/>
                </a:lnTo>
                <a:lnTo>
                  <a:pt x="10003" y="0"/>
                </a:lnTo>
                <a:lnTo>
                  <a:pt x="10003" y="10000"/>
                </a:lnTo>
                <a:lnTo>
                  <a:pt x="3" y="10000"/>
                </a:lnTo>
                <a:cubicBezTo>
                  <a:pt x="2" y="10003"/>
                  <a:pt x="1" y="10007"/>
                  <a:pt x="0" y="10010"/>
                </a:cubicBezTo>
                <a:close/>
              </a:path>
            </a:pathLst>
          </a:cu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/>
          </p:nvPr>
        </p:nvSpPr>
        <p:spPr>
          <a:xfrm>
            <a:off x="285748" y="288000"/>
            <a:ext cx="11616000" cy="6288000"/>
          </a:xfrm>
          <a:custGeom>
            <a:avLst/>
            <a:gdLst>
              <a:gd name="connsiteX0" fmla="*/ 0 w 10000"/>
              <a:gd name="connsiteY0" fmla="*/ 2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0 w 10000"/>
              <a:gd name="connsiteY0" fmla="*/ 2000 h 10000"/>
              <a:gd name="connsiteX1" fmla="*/ 164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0 w 10000"/>
              <a:gd name="connsiteY0" fmla="*/ 4180 h 10000"/>
              <a:gd name="connsiteX1" fmla="*/ 164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4180 h 10000"/>
              <a:gd name="connsiteX0" fmla="*/ 0 w 10000"/>
              <a:gd name="connsiteY0" fmla="*/ 6764 h 10000"/>
              <a:gd name="connsiteX1" fmla="*/ 164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6764 h 10000"/>
              <a:gd name="connsiteX0" fmla="*/ 0 w 10000"/>
              <a:gd name="connsiteY0" fmla="*/ 8878 h 10000"/>
              <a:gd name="connsiteX1" fmla="*/ 1647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8878 h 10000"/>
              <a:gd name="connsiteX0" fmla="*/ 0 w 10000"/>
              <a:gd name="connsiteY0" fmla="*/ 10006 h 10006"/>
              <a:gd name="connsiteX1" fmla="*/ 1647 w 10000"/>
              <a:gd name="connsiteY1" fmla="*/ 0 h 10006"/>
              <a:gd name="connsiteX2" fmla="*/ 10000 w 10000"/>
              <a:gd name="connsiteY2" fmla="*/ 0 h 10006"/>
              <a:gd name="connsiteX3" fmla="*/ 10000 w 10000"/>
              <a:gd name="connsiteY3" fmla="*/ 10000 h 10006"/>
              <a:gd name="connsiteX4" fmla="*/ 0 w 10000"/>
              <a:gd name="connsiteY4" fmla="*/ 10000 h 10006"/>
              <a:gd name="connsiteX5" fmla="*/ 0 w 10000"/>
              <a:gd name="connsiteY5" fmla="*/ 10006 h 10006"/>
              <a:gd name="connsiteX0" fmla="*/ 0 w 10000"/>
              <a:gd name="connsiteY0" fmla="*/ 10006 h 10006"/>
              <a:gd name="connsiteX1" fmla="*/ 1412 w 10000"/>
              <a:gd name="connsiteY1" fmla="*/ 0 h 10006"/>
              <a:gd name="connsiteX2" fmla="*/ 10000 w 10000"/>
              <a:gd name="connsiteY2" fmla="*/ 0 h 10006"/>
              <a:gd name="connsiteX3" fmla="*/ 10000 w 10000"/>
              <a:gd name="connsiteY3" fmla="*/ 10000 h 10006"/>
              <a:gd name="connsiteX4" fmla="*/ 0 w 10000"/>
              <a:gd name="connsiteY4" fmla="*/ 10000 h 10006"/>
              <a:gd name="connsiteX5" fmla="*/ 0 w 10000"/>
              <a:gd name="connsiteY5" fmla="*/ 10006 h 10006"/>
              <a:gd name="connsiteX0" fmla="*/ 16 w 10000"/>
              <a:gd name="connsiteY0" fmla="*/ 10021 h 10021"/>
              <a:gd name="connsiteX1" fmla="*/ 1412 w 10000"/>
              <a:gd name="connsiteY1" fmla="*/ 0 h 10021"/>
              <a:gd name="connsiteX2" fmla="*/ 10000 w 10000"/>
              <a:gd name="connsiteY2" fmla="*/ 0 h 10021"/>
              <a:gd name="connsiteX3" fmla="*/ 10000 w 10000"/>
              <a:gd name="connsiteY3" fmla="*/ 10000 h 10021"/>
              <a:gd name="connsiteX4" fmla="*/ 0 w 10000"/>
              <a:gd name="connsiteY4" fmla="*/ 10000 h 10021"/>
              <a:gd name="connsiteX5" fmla="*/ 16 w 10000"/>
              <a:gd name="connsiteY5" fmla="*/ 10021 h 10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21">
                <a:moveTo>
                  <a:pt x="16" y="10021"/>
                </a:moveTo>
                <a:lnTo>
                  <a:pt x="1412" y="0"/>
                </a:ln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cubicBezTo>
                  <a:pt x="5" y="10007"/>
                  <a:pt x="11" y="10014"/>
                  <a:pt x="16" y="10021"/>
                </a:cubicBezTo>
                <a:close/>
              </a:path>
            </a:pathLst>
          </a:custGeom>
          <a:noFill/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19818" y="3428999"/>
            <a:ext cx="9652801" cy="1717847"/>
          </a:xfrm>
        </p:spPr>
        <p:txBody>
          <a:bodyPr anchor="b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0"/>
          </p:nvPr>
        </p:nvSpPr>
        <p:spPr>
          <a:xfrm>
            <a:off x="1920000" y="5232000"/>
            <a:ext cx="9652800" cy="288000"/>
          </a:xfrm>
        </p:spPr>
        <p:txBody>
          <a:bodyPr anchor="t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919818" y="5526100"/>
            <a:ext cx="9652801" cy="768000"/>
          </a:xfrm>
        </p:spPr>
        <p:txBody>
          <a:bodyPr vert="horz" wrap="none" lIns="0" tIns="0" rIns="0" bIns="0" rtlCol="0" anchor="t">
            <a:noAutofit/>
          </a:bodyPr>
          <a:lstStyle>
            <a:lvl1pPr>
              <a:spcBef>
                <a:spcPts val="0"/>
              </a:spcBef>
              <a:defRPr lang="en-US" smtClean="0">
                <a:solidFill>
                  <a:schemeClr val="tx1"/>
                </a:solidFill>
              </a:defRPr>
            </a:lvl1pPr>
            <a:lvl2pPr>
              <a:defRPr lang="en-US" sz="20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GB" sz="1600"/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026387" y="462336"/>
            <a:ext cx="3550223" cy="2880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defTabSz="914377">
              <a:defRPr/>
            </a:pPr>
            <a:r>
              <a:rPr lang="en-GB" sz="1800" cap="none" spc="0" dirty="0">
                <a:solidFill>
                  <a:prstClr val="white"/>
                </a:solidFill>
              </a:rPr>
              <a:t>Digital Solutions CMD 18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00" y="288000"/>
            <a:ext cx="1202841" cy="1200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377">
              <a:defRPr/>
            </a:pPr>
            <a:fld id="{2C129B91-B200-45C1-AD3E-AEC4A27DD8AD}" type="slidenum">
              <a:rPr lang="sv-SE" sz="933" b="0" smtClean="0">
                <a:solidFill>
                  <a:prstClr val="black">
                    <a:tint val="75000"/>
                  </a:prstClr>
                </a:solidFill>
              </a:rPr>
              <a:pPr defTabSz="914377">
                <a:defRPr/>
              </a:pPr>
              <a:t>‹#›</a:t>
            </a:fld>
            <a:endParaRPr lang="sv-SE" sz="933" b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7139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0"/>
          </p:nvPr>
        </p:nvSpPr>
        <p:spPr>
          <a:xfrm>
            <a:off x="1920000" y="1536000"/>
            <a:ext cx="9652800" cy="288000"/>
          </a:xfrm>
        </p:spPr>
        <p:txBody>
          <a:bodyPr anchor="t">
            <a:noAutofit/>
          </a:bodyPr>
          <a:lstStyle>
            <a:lvl1pPr marL="0" indent="0">
              <a:buNone/>
              <a:defRPr sz="2133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8000"/>
              </a:lnSpc>
              <a:defRPr/>
            </a:lvl1pPr>
            <a:lvl2pPr marL="527987" indent="-239994">
              <a:buSzPct val="100000"/>
              <a:buFont typeface="Arial" panose="020B0604020202020204" pitchFamily="34" charset="0"/>
              <a:buChar char="•"/>
              <a:defRPr/>
            </a:lvl2pPr>
            <a:lvl3pPr>
              <a:buSzPct val="100000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00" y="288000"/>
            <a:ext cx="1202841" cy="1200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77">
              <a:defRPr/>
            </a:pPr>
            <a:fld id="{2C129B91-B200-45C1-AD3E-AEC4A27DD8AD}" type="slidenum">
              <a:rPr lang="sv-SE" sz="933" b="0" smtClean="0">
                <a:solidFill>
                  <a:prstClr val="black">
                    <a:tint val="75000"/>
                  </a:prstClr>
                </a:solidFill>
              </a:rPr>
              <a:pPr defTabSz="914377">
                <a:defRPr/>
              </a:pPr>
              <a:t>‹#›</a:t>
            </a:fld>
            <a:endParaRPr lang="sv-SE" sz="933" b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7228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0211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formatet för bakgrundsrubri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sv-SE"/>
              <a:t>Klicka här för att ändra format på underrubrik i bakgrund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E06F81A-972A-4946-86FE-93536CA14314}" type="datetimeFigureOut">
              <a:rPr lang="sv-SE" smtClean="0"/>
              <a:t>2019-11-28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513AA69-0FDF-4E44-9781-2D35C7C04D9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29338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638425"/>
            <a:ext cx="7104062" cy="2566241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6000" spc="-130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F727A2-B4ED-4682-9FD9-700B666D5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9788" y="5711353"/>
            <a:ext cx="2855913" cy="365125"/>
          </a:xfrm>
        </p:spPr>
        <p:txBody>
          <a:bodyPr/>
          <a:lstStyle>
            <a:lvl1pPr algn="l">
              <a:defRPr sz="1600" spc="1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DB441-984C-449D-ABE3-7DA469824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1CC1F3-3B13-4FDF-AC5E-C6E0CAF8462C}" type="datetime1">
              <a:rPr lang="sv-SE" smtClean="0"/>
              <a:t>2019-11-28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3726448-EA3C-4300-886D-1B5C494BDD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459"/>
            <a:ext cx="478800" cy="479167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140E88E6-D661-47C4-A5F7-6FB8E828124D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32819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D436C-449C-44A3-A112-F4E3D1AFB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169" y="2202310"/>
            <a:ext cx="6843058" cy="2566241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200" spc="-1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F727A2-B4ED-4682-9FD9-700B666D5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9788" y="5711353"/>
            <a:ext cx="2855912" cy="365125"/>
          </a:xfrm>
        </p:spPr>
        <p:txBody>
          <a:bodyPr/>
          <a:lstStyle>
            <a:lvl1pPr algn="l">
              <a:defRPr sz="1600" spc="1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3DB441-984C-449D-ABE3-7DA469824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30F4A30-2EEC-43F7-8392-DF2DD36F84A1}" type="datetime1">
              <a:rPr lang="sv-SE" smtClean="0"/>
              <a:t>2019-11-28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09B12C-2E67-4E0A-BFC0-9159443E3C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  <a:noFill/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DC45183D-F325-4599-88C4-C3AF96BEACCA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9445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67887952-9F58-441B-8468-DB355939FBC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79368" y="863611"/>
            <a:ext cx="22780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7701EDC-D3EB-4D97-96BE-F087996E10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9466" y="1204711"/>
            <a:ext cx="22780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C328841-9716-41B3-8246-F608FF9BFB7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6085" y="1691028"/>
            <a:ext cx="2351388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DBFA5408-6B9B-43E1-BE54-731A9D362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74532" y="863610"/>
            <a:ext cx="2267677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FD2E46D-5AC5-4E86-9C22-197659ADE9C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74630" y="1204711"/>
            <a:ext cx="2267677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47148CA3-E18E-4A75-8B8A-979CEE3603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01250" y="1693326"/>
            <a:ext cx="2341057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19E15938-2B6C-4278-B494-228309B181A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75799" y="3983560"/>
            <a:ext cx="226529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FA33389-50A6-427B-9981-F9F9D919CF7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78278" y="4323074"/>
            <a:ext cx="2265298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4D5C1F51-0903-4A09-A86B-1C7B79486AD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02518" y="4812563"/>
            <a:ext cx="2341057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582FFE67-B10F-4C88-974B-5CE1EB3AE43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472425" y="3983571"/>
            <a:ext cx="2275625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3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72E2D59-EDE4-43B4-9BEC-DA03FF3E795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477285" y="4323084"/>
            <a:ext cx="2275625" cy="32542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2000" b="0" cap="none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55E74B6F-4894-4708-8090-EAE2D5F24E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401522" y="4812576"/>
            <a:ext cx="2351388" cy="1400922"/>
          </a:xfrm>
        </p:spPr>
        <p:txBody>
          <a:bodyPr/>
          <a:lstStyle>
            <a:lvl1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1pPr>
            <a:lvl2pPr>
              <a:lnSpc>
                <a:spcPct val="118000"/>
              </a:lnSpc>
              <a:spcBef>
                <a:spcPts val="500"/>
              </a:spcBef>
              <a:defRPr sz="1050" spc="-30" baseline="0">
                <a:solidFill>
                  <a:schemeClr val="tx1"/>
                </a:solidFill>
              </a:defRPr>
            </a:lvl2pPr>
            <a:lvl3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3pPr>
            <a:lvl4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4pPr>
            <a:lvl5pPr>
              <a:lnSpc>
                <a:spcPct val="118000"/>
              </a:lnSpc>
              <a:spcBef>
                <a:spcPts val="400"/>
              </a:spcBef>
              <a:defRPr sz="1050" spc="-3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6C2A58-2EDD-40D8-AFD7-5FD18C644B7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092451" y="0"/>
            <a:ext cx="3003549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59BBAAEA-674E-40DB-BD2B-670EDCC2959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00931" y="0"/>
            <a:ext cx="3091071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C50FE064-13B3-4FF3-A346-8FE81184ED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429000"/>
            <a:ext cx="3091071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F5BA1ED9-F0C6-46E2-9497-FCE91E5488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2" y="3429000"/>
            <a:ext cx="3003549" cy="3429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1BE580-222B-4C5E-8602-2D7652EA7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D0994-084D-4CE0-BA44-36611E2F04C9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CDB8D3-CC94-4A35-B717-96CFEAAA8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900894-9B58-4094-8C0F-7EC8C78BAC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70646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D935B5-BBF3-4955-8380-5132FEBA8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962" y="1003782"/>
            <a:ext cx="4077953" cy="5000141"/>
          </a:xfrm>
        </p:spPr>
        <p:txBody>
          <a:bodyPr/>
          <a:lstStyle>
            <a:lvl1pPr marL="285750" indent="-28575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750" spc="0" baseline="0">
                <a:solidFill>
                  <a:schemeClr val="tx1"/>
                </a:solidFill>
              </a:defRPr>
            </a:lvl1pPr>
            <a:lvl2pPr marL="549275" indent="-268288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600">
                <a:solidFill>
                  <a:schemeClr val="tx1"/>
                </a:solidFill>
              </a:defRPr>
            </a:lvl2pPr>
            <a:lvl3pPr marL="811213" indent="-25717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3pPr>
            <a:lvl4pPr marL="1085850" indent="-263525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4pPr>
            <a:lvl5pPr marL="1352550" indent="-279400">
              <a:lnSpc>
                <a:spcPct val="100000"/>
              </a:lnSpc>
              <a:spcAft>
                <a:spcPts val="5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6C16368-8404-49D9-90A9-6C41720A994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7788" y="0"/>
            <a:ext cx="3936206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5FBCC223-4C42-41F1-95EB-5F005751D4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091611" y="0"/>
            <a:ext cx="3100388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D4A4B73-DDEA-4F1F-AED3-029135F48AB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58979" y="2994323"/>
            <a:ext cx="3933824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C75F59F4-76B7-4390-9887-1E31284B317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91612" y="2994324"/>
            <a:ext cx="3100388" cy="30096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8CC1BB-8DFF-4DBB-BF4F-62314F8E0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42CAA-336D-40B8-ABA7-2452535FA637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851EB9-05E1-4A3F-B45F-F202ED063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0D1A51-DF8C-4A8D-BC7B-E75043B6D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369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&amp;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2500"/>
            <a:ext cx="6167438" cy="10873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DDC5608-1E5B-4798-882C-8871279D4D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6167" y="4110087"/>
            <a:ext cx="198120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2916970-28B6-4083-A77E-DF5A1B0199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9967" y="4552361"/>
            <a:ext cx="1981200" cy="1451563"/>
          </a:xfrm>
        </p:spPr>
        <p:txBody>
          <a:bodyPr/>
          <a:lstStyle>
            <a:lvl1pPr>
              <a:lnSpc>
                <a:spcPct val="105000"/>
              </a:lnSpc>
              <a:spcBef>
                <a:spcPts val="400"/>
              </a:spcBef>
              <a:defRPr sz="1200" spc="-10" baseline="0"/>
            </a:lvl1pPr>
            <a:lvl2pPr>
              <a:spcBef>
                <a:spcPts val="400"/>
              </a:spcBef>
              <a:defRPr sz="1200" spc="-10" baseline="0"/>
            </a:lvl2pPr>
            <a:lvl3pPr>
              <a:spcBef>
                <a:spcPts val="400"/>
              </a:spcBef>
              <a:defRPr sz="1200" spc="-10" baseline="0"/>
            </a:lvl3pPr>
            <a:lvl4pPr>
              <a:spcBef>
                <a:spcPts val="400"/>
              </a:spcBef>
              <a:defRPr sz="1200" spc="-10" baseline="0"/>
            </a:lvl4pPr>
            <a:lvl5pPr>
              <a:spcBef>
                <a:spcPts val="400"/>
              </a:spcBef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55B9F54-AAFB-477C-B45F-A05CC5BB8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37795" y="4114899"/>
            <a:ext cx="198120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3995" y="4552361"/>
            <a:ext cx="1981200" cy="1451563"/>
          </a:xfrm>
        </p:spPr>
        <p:txBody>
          <a:bodyPr/>
          <a:lstStyle>
            <a:lvl1pPr>
              <a:lnSpc>
                <a:spcPct val="105000"/>
              </a:lnSpc>
              <a:spcBef>
                <a:spcPts val="400"/>
              </a:spcBef>
              <a:defRPr sz="1200" spc="-10" baseline="0"/>
            </a:lvl1pPr>
            <a:lvl2pPr>
              <a:spcBef>
                <a:spcPts val="400"/>
              </a:spcBef>
              <a:defRPr sz="1200" spc="-10" baseline="0"/>
            </a:lvl2pPr>
            <a:lvl3pPr>
              <a:spcBef>
                <a:spcPts val="400"/>
              </a:spcBef>
              <a:defRPr sz="1200" spc="-10" baseline="0"/>
            </a:lvl3pPr>
            <a:lvl4pPr>
              <a:spcBef>
                <a:spcPts val="400"/>
              </a:spcBef>
              <a:defRPr sz="1200" spc="-10" baseline="0"/>
            </a:lvl4pPr>
            <a:lvl5pPr>
              <a:spcBef>
                <a:spcPts val="400"/>
              </a:spcBef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6775" y="-1"/>
            <a:ext cx="4975225" cy="60039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5DCEB-7399-0E49-ABEA-112D7FC4C7FF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1120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703881"/>
            <a:ext cx="7238999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197080"/>
            <a:ext cx="7240586" cy="10810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519FD-21DA-4192-B7DF-90D08C0A9D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BAB43-125E-4BA3-AEDD-86EF7FDB9D16}" type="datetime1">
              <a:rPr lang="sv-SE" smtClean="0"/>
              <a:t>2019-11-28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31DDFA0-E95A-4042-BF6B-67B86E4E20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E27C72C3-ECD5-4FDF-87A6-E0EF6ABB9C6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48EA6F5-0169-4F36-B8DA-9D9659CA70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DBE63FB9-D0E0-4CD5-9792-1E09F6B6E6E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7495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DED9CF-E080-41D7-AC39-4E31E81483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703881"/>
            <a:ext cx="6579107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9CAEF-55D8-4C0C-ADE7-6FFA245F7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2159376"/>
            <a:ext cx="6579107" cy="1081088"/>
          </a:xfrm>
        </p:spPr>
        <p:txBody>
          <a:bodyPr/>
          <a:lstStyle>
            <a:lvl1pPr>
              <a:defRPr sz="58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F53E1B-4A7E-42B6-8CC1-97704BC9C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3E308EC-D9C5-4D66-85B7-272AC891889C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ABD472-6679-423B-B9CD-FDC0D9CDD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ADB193-1508-416F-AA0A-5DEC4231D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ruta 5">
            <a:extLst>
              <a:ext uri="{FF2B5EF4-FFF2-40B4-BE49-F238E27FC236}">
                <a16:creationId xmlns:a16="http://schemas.microsoft.com/office/drawing/2014/main" id="{6C2DC63D-E8D1-42AA-A69C-C09F9E36A5F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C34795-D03B-488A-8D97-1C5EF85A1433}"/>
              </a:ext>
            </a:extLst>
          </p:cNvPr>
          <p:cNvCxnSpPr>
            <a:cxnSpLocks/>
          </p:cNvCxnSpPr>
          <p:nvPr userDrawn="1"/>
        </p:nvCxnSpPr>
        <p:spPr>
          <a:xfrm>
            <a:off x="11120438" y="6512721"/>
            <a:ext cx="0" cy="648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0261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&amp;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2500"/>
            <a:ext cx="6167438" cy="10873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DDC5608-1E5B-4798-882C-8871279D4D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36167" y="4110087"/>
            <a:ext cx="198120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2916970-28B6-4083-A77E-DF5A1B0199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59967" y="4552361"/>
            <a:ext cx="1981200" cy="1451563"/>
          </a:xfrm>
        </p:spPr>
        <p:txBody>
          <a:bodyPr/>
          <a:lstStyle>
            <a:lvl1pPr>
              <a:lnSpc>
                <a:spcPct val="105000"/>
              </a:lnSpc>
              <a:spcBef>
                <a:spcPts val="400"/>
              </a:spcBef>
              <a:defRPr sz="1200" spc="-10" baseline="0"/>
            </a:lvl1pPr>
            <a:lvl2pPr>
              <a:spcBef>
                <a:spcPts val="400"/>
              </a:spcBef>
              <a:defRPr sz="1200" spc="-10" baseline="0"/>
            </a:lvl2pPr>
            <a:lvl3pPr>
              <a:spcBef>
                <a:spcPts val="400"/>
              </a:spcBef>
              <a:defRPr sz="1200" spc="-10" baseline="0"/>
            </a:lvl3pPr>
            <a:lvl4pPr>
              <a:spcBef>
                <a:spcPts val="400"/>
              </a:spcBef>
              <a:defRPr sz="1200" spc="-10" baseline="0"/>
            </a:lvl4pPr>
            <a:lvl5pPr>
              <a:spcBef>
                <a:spcPts val="400"/>
              </a:spcBef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55B9F54-AAFB-477C-B45F-A05CC5BB86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937795" y="4114899"/>
            <a:ext cx="198120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3995" y="4552361"/>
            <a:ext cx="1981200" cy="1451563"/>
          </a:xfrm>
        </p:spPr>
        <p:txBody>
          <a:bodyPr/>
          <a:lstStyle>
            <a:lvl1pPr>
              <a:lnSpc>
                <a:spcPct val="105000"/>
              </a:lnSpc>
              <a:spcBef>
                <a:spcPts val="400"/>
              </a:spcBef>
              <a:defRPr sz="1200" spc="-10" baseline="0"/>
            </a:lvl1pPr>
            <a:lvl2pPr>
              <a:spcBef>
                <a:spcPts val="400"/>
              </a:spcBef>
              <a:defRPr sz="1200" spc="-10" baseline="0"/>
            </a:lvl2pPr>
            <a:lvl3pPr>
              <a:spcBef>
                <a:spcPts val="400"/>
              </a:spcBef>
              <a:defRPr sz="1200" spc="-10" baseline="0"/>
            </a:lvl3pPr>
            <a:lvl4pPr>
              <a:spcBef>
                <a:spcPts val="400"/>
              </a:spcBef>
              <a:defRPr sz="1200" spc="-10" baseline="0"/>
            </a:lvl4pPr>
            <a:lvl5pPr>
              <a:spcBef>
                <a:spcPts val="400"/>
              </a:spcBef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6775" y="-1"/>
            <a:ext cx="4975225" cy="60039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F5F4-B230-41F6-A59C-2D08821D670D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1707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FBC685E-8A4F-4757-8C7D-B980F08D7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13706" y="2235401"/>
            <a:ext cx="7364588" cy="1986079"/>
          </a:xfrm>
        </p:spPr>
        <p:txBody>
          <a:bodyPr>
            <a:normAutofit/>
          </a:bodyPr>
          <a:lstStyle>
            <a:lvl1pPr marL="74612" indent="0" algn="ctr">
              <a:lnSpc>
                <a:spcPct val="104000"/>
              </a:lnSpc>
              <a:buNone/>
              <a:defRPr sz="2200" spc="10" baseline="0"/>
            </a:lvl1pPr>
            <a:lvl2pPr algn="ctr">
              <a:defRPr sz="18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2F9A7D-CA23-471C-99DA-319D91170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A7A05F-444D-40F1-BD96-02B6CA9DD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9CEE9-92A1-4306-B2DE-86E58F93791F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F8F547-1DCA-4A07-80CB-7C20996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A6365-587D-47AA-BBCA-5F4BFD6606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4300" y="4305300"/>
            <a:ext cx="4343400" cy="349250"/>
          </a:xfrm>
        </p:spPr>
        <p:txBody>
          <a:bodyPr/>
          <a:lstStyle>
            <a:lvl1pPr marL="74612" indent="0" algn="ctr">
              <a:buNone/>
              <a:defRPr sz="1600" cap="all" baseline="0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41537489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463594"/>
            <a:ext cx="6167438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6137" y="2771775"/>
            <a:ext cx="4764088" cy="323215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9950" y="1"/>
            <a:ext cx="4972050" cy="6003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5FB15-7E22-4A14-90BC-30FFBAAAB5BF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7074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64BECCE-BA3B-4C2F-AE45-4B884DF067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63594"/>
            <a:ext cx="6167437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6136" y="2771773"/>
            <a:ext cx="4764088" cy="3041651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7569" y="1"/>
            <a:ext cx="4974431" cy="34313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0490818-E997-44E1-96DC-F1AE0EFCACD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217567" y="3429000"/>
            <a:ext cx="4974431" cy="23828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63E03-0539-41A5-A313-2AB9C5520FC8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5657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63594"/>
            <a:ext cx="5257800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6137" y="2771774"/>
            <a:ext cx="5000625" cy="3375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8EA0199F-14F6-49BD-AB83-7F5D3C38B8EC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51588" y="2039826"/>
            <a:ext cx="5000625" cy="4106974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4BEAC2-B9F9-4A7F-847A-E02C0891B49A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99098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1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090520C-4F8F-4CAE-99E9-CC0C65AC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2272" y="1"/>
            <a:ext cx="11709728" cy="6858000"/>
          </a:xfrm>
          <a:custGeom>
            <a:avLst/>
            <a:gdLst>
              <a:gd name="connsiteX0" fmla="*/ 4430719 w 4442650"/>
              <a:gd name="connsiteY0" fmla="*/ 0 h 2601913"/>
              <a:gd name="connsiteX1" fmla="*/ 4442650 w 4442650"/>
              <a:gd name="connsiteY1" fmla="*/ 0 h 2601913"/>
              <a:gd name="connsiteX2" fmla="*/ 4442650 w 4442650"/>
              <a:gd name="connsiteY2" fmla="*/ 2601913 h 2601913"/>
              <a:gd name="connsiteX3" fmla="*/ 4290976 w 4442650"/>
              <a:gd name="connsiteY3" fmla="*/ 2601913 h 2601913"/>
              <a:gd name="connsiteX4" fmla="*/ 3918774 w 4442650"/>
              <a:gd name="connsiteY4" fmla="*/ 1955800 h 2601913"/>
              <a:gd name="connsiteX5" fmla="*/ 2820319 w 4442650"/>
              <a:gd name="connsiteY5" fmla="*/ 2601913 h 2601913"/>
              <a:gd name="connsiteX6" fmla="*/ 0 w 4442650"/>
              <a:gd name="connsiteY6" fmla="*/ 2601913 h 260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2650" h="2601913">
                <a:moveTo>
                  <a:pt x="4430719" y="0"/>
                </a:moveTo>
                <a:lnTo>
                  <a:pt x="4442650" y="0"/>
                </a:lnTo>
                <a:lnTo>
                  <a:pt x="4442650" y="2601913"/>
                </a:lnTo>
                <a:lnTo>
                  <a:pt x="4290976" y="2601913"/>
                </a:lnTo>
                <a:lnTo>
                  <a:pt x="3918774" y="1955800"/>
                </a:lnTo>
                <a:lnTo>
                  <a:pt x="2820319" y="2601913"/>
                </a:lnTo>
                <a:lnTo>
                  <a:pt x="0" y="2601913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8F3B70-715A-45E3-A99E-92FB88CE3A60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4AB6FE4-4128-4F5D-BB64-1E1E1C8B55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5748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2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6212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2CF9E30-0DAB-4ADB-AA95-4092F2EAB81A}"/>
              </a:ext>
            </a:extLst>
          </p:cNvPr>
          <p:cNvSpPr>
            <a:spLocks/>
          </p:cNvSpPr>
          <p:nvPr userDrawn="1"/>
        </p:nvSpPr>
        <p:spPr bwMode="auto">
          <a:xfrm>
            <a:off x="4817802" y="0"/>
            <a:ext cx="7374198" cy="6858000"/>
          </a:xfrm>
          <a:custGeom>
            <a:avLst/>
            <a:gdLst>
              <a:gd name="connsiteX0" fmla="*/ 0 w 3091360"/>
              <a:gd name="connsiteY0" fmla="*/ 0 h 2874963"/>
              <a:gd name="connsiteX1" fmla="*/ 3091360 w 3091360"/>
              <a:gd name="connsiteY1" fmla="*/ 0 h 2874963"/>
              <a:gd name="connsiteX2" fmla="*/ 3091360 w 3091360"/>
              <a:gd name="connsiteY2" fmla="*/ 2874963 h 2874963"/>
              <a:gd name="connsiteX3" fmla="*/ 1761209 w 3091360"/>
              <a:gd name="connsiteY3" fmla="*/ 2874963 h 2874963"/>
              <a:gd name="connsiteX4" fmla="*/ 2189659 w 3091360"/>
              <a:gd name="connsiteY4" fmla="*/ 1276350 h 2874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1360" h="2874963">
                <a:moveTo>
                  <a:pt x="0" y="0"/>
                </a:moveTo>
                <a:lnTo>
                  <a:pt x="3091360" y="0"/>
                </a:lnTo>
                <a:lnTo>
                  <a:pt x="3091360" y="2874963"/>
                </a:lnTo>
                <a:lnTo>
                  <a:pt x="1761209" y="2874963"/>
                </a:lnTo>
                <a:lnTo>
                  <a:pt x="2189659" y="1276350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38FFBC-9B07-46FB-981E-8E979E5A2F5D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5C758B-0E4E-4E7C-9D7F-83EB46335DC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4631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attern 3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46928"/>
            <a:ext cx="5256213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C7F68A-10B6-43A2-A632-437EA1289A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99644" y="0"/>
            <a:ext cx="5292355" cy="6858000"/>
          </a:xfrm>
          <a:custGeom>
            <a:avLst/>
            <a:gdLst>
              <a:gd name="connsiteX0" fmla="*/ 3425825 w 3541713"/>
              <a:gd name="connsiteY0" fmla="*/ 0 h 4589463"/>
              <a:gd name="connsiteX1" fmla="*/ 3541713 w 3541713"/>
              <a:gd name="connsiteY1" fmla="*/ 2933 h 4589463"/>
              <a:gd name="connsiteX2" fmla="*/ 3541713 w 3541713"/>
              <a:gd name="connsiteY2" fmla="*/ 2063259 h 4589463"/>
              <a:gd name="connsiteX3" fmla="*/ 3425825 w 3541713"/>
              <a:gd name="connsiteY3" fmla="*/ 2057400 h 4589463"/>
              <a:gd name="connsiteX4" fmla="*/ 2055812 w 3541713"/>
              <a:gd name="connsiteY4" fmla="*/ 3429000 h 4589463"/>
              <a:gd name="connsiteX5" fmla="*/ 2659838 w 3541713"/>
              <a:gd name="connsiteY5" fmla="*/ 4566353 h 4589463"/>
              <a:gd name="connsiteX6" fmla="*/ 2697835 w 3541713"/>
              <a:gd name="connsiteY6" fmla="*/ 4589463 h 4589463"/>
              <a:gd name="connsiteX7" fmla="*/ 205498 w 3541713"/>
              <a:gd name="connsiteY7" fmla="*/ 4589463 h 4589463"/>
              <a:gd name="connsiteX8" fmla="*/ 154019 w 3541713"/>
              <a:gd name="connsiteY8" fmla="*/ 4448680 h 4589463"/>
              <a:gd name="connsiteX9" fmla="*/ 0 w 3541713"/>
              <a:gd name="connsiteY9" fmla="*/ 3429000 h 4589463"/>
              <a:gd name="connsiteX10" fmla="*/ 3425825 w 3541713"/>
              <a:gd name="connsiteY10" fmla="*/ 0 h 45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41713" h="4589463">
                <a:moveTo>
                  <a:pt x="3425825" y="0"/>
                </a:moveTo>
                <a:lnTo>
                  <a:pt x="3541713" y="2933"/>
                </a:lnTo>
                <a:lnTo>
                  <a:pt x="3541713" y="2063259"/>
                </a:lnTo>
                <a:lnTo>
                  <a:pt x="3425825" y="2057400"/>
                </a:lnTo>
                <a:cubicBezTo>
                  <a:pt x="2669188" y="2057400"/>
                  <a:pt x="2055812" y="2671486"/>
                  <a:pt x="2055812" y="3429000"/>
                </a:cubicBezTo>
                <a:cubicBezTo>
                  <a:pt x="2055812" y="3902446"/>
                  <a:pt x="2295412" y="4319866"/>
                  <a:pt x="2659838" y="4566353"/>
                </a:cubicBezTo>
                <a:lnTo>
                  <a:pt x="2697835" y="4589463"/>
                </a:lnTo>
                <a:lnTo>
                  <a:pt x="205498" y="4589463"/>
                </a:lnTo>
                <a:lnTo>
                  <a:pt x="154019" y="4448680"/>
                </a:lnTo>
                <a:cubicBezTo>
                  <a:pt x="53923" y="4126563"/>
                  <a:pt x="0" y="3784085"/>
                  <a:pt x="0" y="3429000"/>
                </a:cubicBezTo>
                <a:cubicBezTo>
                  <a:pt x="0" y="1535216"/>
                  <a:pt x="1533794" y="0"/>
                  <a:pt x="3425825" y="0"/>
                </a:cubicBezTo>
                <a:close/>
              </a:path>
            </a:pathLst>
          </a:custGeom>
          <a:solidFill>
            <a:srgbClr val="40404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rgbClr val="FF0000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5618E6-1BCC-431C-A7AD-82AE4CAFD910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91F173-3CA5-404A-8D4D-E2B4C820B1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289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FBC685E-8A4F-4757-8C7D-B980F08D7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13706" y="2235401"/>
            <a:ext cx="7364588" cy="1986079"/>
          </a:xfrm>
        </p:spPr>
        <p:txBody>
          <a:bodyPr>
            <a:normAutofit/>
          </a:bodyPr>
          <a:lstStyle>
            <a:lvl1pPr marL="74612" indent="0" algn="ctr">
              <a:lnSpc>
                <a:spcPct val="104000"/>
              </a:lnSpc>
              <a:buNone/>
              <a:defRPr sz="2200" spc="10" baseline="0"/>
            </a:lvl1pPr>
            <a:lvl2pPr algn="ctr">
              <a:defRPr sz="18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2F9A7D-CA23-471C-99DA-319D91170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A7A05F-444D-40F1-BD96-02B6CA9DD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BAF23-6DDD-A749-ABB0-4064D6FB24AB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F8F547-1DCA-4A07-80CB-7C20996A7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B3A6365-587D-47AA-BBCA-5F4BFD6606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4300" y="4305300"/>
            <a:ext cx="4343400" cy="349250"/>
          </a:xfrm>
        </p:spPr>
        <p:txBody>
          <a:bodyPr/>
          <a:lstStyle>
            <a:lvl1pPr marL="74612" indent="0" algn="ctr">
              <a:buNone/>
              <a:defRPr sz="1600" cap="all" baseline="0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927965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attern 1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090520C-4F8F-4CAE-99E9-CC0C65AC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2272" y="1"/>
            <a:ext cx="11709728" cy="6858000"/>
          </a:xfrm>
          <a:custGeom>
            <a:avLst/>
            <a:gdLst>
              <a:gd name="connsiteX0" fmla="*/ 4430719 w 4442650"/>
              <a:gd name="connsiteY0" fmla="*/ 0 h 2601913"/>
              <a:gd name="connsiteX1" fmla="*/ 4442650 w 4442650"/>
              <a:gd name="connsiteY1" fmla="*/ 0 h 2601913"/>
              <a:gd name="connsiteX2" fmla="*/ 4442650 w 4442650"/>
              <a:gd name="connsiteY2" fmla="*/ 2601913 h 2601913"/>
              <a:gd name="connsiteX3" fmla="*/ 4290976 w 4442650"/>
              <a:gd name="connsiteY3" fmla="*/ 2601913 h 2601913"/>
              <a:gd name="connsiteX4" fmla="*/ 3918774 w 4442650"/>
              <a:gd name="connsiteY4" fmla="*/ 1955800 h 2601913"/>
              <a:gd name="connsiteX5" fmla="*/ 2820319 w 4442650"/>
              <a:gd name="connsiteY5" fmla="*/ 2601913 h 2601913"/>
              <a:gd name="connsiteX6" fmla="*/ 0 w 4442650"/>
              <a:gd name="connsiteY6" fmla="*/ 2601913 h 260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2650" h="2601913">
                <a:moveTo>
                  <a:pt x="4430719" y="0"/>
                </a:moveTo>
                <a:lnTo>
                  <a:pt x="4442650" y="0"/>
                </a:lnTo>
                <a:lnTo>
                  <a:pt x="4442650" y="2601913"/>
                </a:lnTo>
                <a:lnTo>
                  <a:pt x="4290976" y="2601913"/>
                </a:lnTo>
                <a:lnTo>
                  <a:pt x="3918774" y="1955800"/>
                </a:lnTo>
                <a:lnTo>
                  <a:pt x="2820319" y="2601913"/>
                </a:lnTo>
                <a:lnTo>
                  <a:pt x="0" y="260191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20D54-62C2-4FE8-B9C6-B2F0EB5223BF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49DAEE-D86B-405C-868A-D1263FB2E5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1373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pattern 2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446928"/>
            <a:ext cx="5257800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2CF9E30-0DAB-4ADB-AA95-4092F2EAB81A}"/>
              </a:ext>
            </a:extLst>
          </p:cNvPr>
          <p:cNvSpPr>
            <a:spLocks/>
          </p:cNvSpPr>
          <p:nvPr userDrawn="1"/>
        </p:nvSpPr>
        <p:spPr bwMode="auto">
          <a:xfrm>
            <a:off x="4817802" y="0"/>
            <a:ext cx="7374198" cy="6858000"/>
          </a:xfrm>
          <a:custGeom>
            <a:avLst/>
            <a:gdLst>
              <a:gd name="connsiteX0" fmla="*/ 0 w 3091360"/>
              <a:gd name="connsiteY0" fmla="*/ 0 h 2874963"/>
              <a:gd name="connsiteX1" fmla="*/ 3091360 w 3091360"/>
              <a:gd name="connsiteY1" fmla="*/ 0 h 2874963"/>
              <a:gd name="connsiteX2" fmla="*/ 3091360 w 3091360"/>
              <a:gd name="connsiteY2" fmla="*/ 2874963 h 2874963"/>
              <a:gd name="connsiteX3" fmla="*/ 1761209 w 3091360"/>
              <a:gd name="connsiteY3" fmla="*/ 2874963 h 2874963"/>
              <a:gd name="connsiteX4" fmla="*/ 2189659 w 3091360"/>
              <a:gd name="connsiteY4" fmla="*/ 1276350 h 2874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1360" h="2874963">
                <a:moveTo>
                  <a:pt x="0" y="0"/>
                </a:moveTo>
                <a:lnTo>
                  <a:pt x="3091360" y="0"/>
                </a:lnTo>
                <a:lnTo>
                  <a:pt x="3091360" y="2874963"/>
                </a:lnTo>
                <a:lnTo>
                  <a:pt x="1761209" y="2874963"/>
                </a:lnTo>
                <a:lnTo>
                  <a:pt x="2189659" y="127635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F56E511-A4F2-4675-80E6-B71EC47A8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52E58A6-5401-41C4-86DC-183A41888B9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EA6E01B-7A90-4AA5-BCCA-F8C61C33AEC3}" type="datetime1">
              <a:rPr lang="sv-SE" smtClean="0"/>
              <a:t>2019-11-28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DA97D0B-DC75-454F-B7F7-47891071DE5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FB43A1D-0873-4D5C-98E2-889E0992C6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5148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attern 3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C90E622-F853-4AC4-9006-374D8D184B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199" y="446928"/>
            <a:ext cx="5256213" cy="43815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67FE98-3F81-471E-AAEF-BD90F0919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400685D-45E0-4FE3-9469-FFB1A901F1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1" y="2996564"/>
            <a:ext cx="5000625" cy="28152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3C7F68A-10B6-43A2-A632-437EA1289A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99644" y="0"/>
            <a:ext cx="5292355" cy="6858000"/>
          </a:xfrm>
          <a:custGeom>
            <a:avLst/>
            <a:gdLst>
              <a:gd name="connsiteX0" fmla="*/ 3425825 w 3541713"/>
              <a:gd name="connsiteY0" fmla="*/ 0 h 4589463"/>
              <a:gd name="connsiteX1" fmla="*/ 3541713 w 3541713"/>
              <a:gd name="connsiteY1" fmla="*/ 2933 h 4589463"/>
              <a:gd name="connsiteX2" fmla="*/ 3541713 w 3541713"/>
              <a:gd name="connsiteY2" fmla="*/ 2063259 h 4589463"/>
              <a:gd name="connsiteX3" fmla="*/ 3425825 w 3541713"/>
              <a:gd name="connsiteY3" fmla="*/ 2057400 h 4589463"/>
              <a:gd name="connsiteX4" fmla="*/ 2055812 w 3541713"/>
              <a:gd name="connsiteY4" fmla="*/ 3429000 h 4589463"/>
              <a:gd name="connsiteX5" fmla="*/ 2659838 w 3541713"/>
              <a:gd name="connsiteY5" fmla="*/ 4566353 h 4589463"/>
              <a:gd name="connsiteX6" fmla="*/ 2697835 w 3541713"/>
              <a:gd name="connsiteY6" fmla="*/ 4589463 h 4589463"/>
              <a:gd name="connsiteX7" fmla="*/ 205498 w 3541713"/>
              <a:gd name="connsiteY7" fmla="*/ 4589463 h 4589463"/>
              <a:gd name="connsiteX8" fmla="*/ 154019 w 3541713"/>
              <a:gd name="connsiteY8" fmla="*/ 4448680 h 4589463"/>
              <a:gd name="connsiteX9" fmla="*/ 0 w 3541713"/>
              <a:gd name="connsiteY9" fmla="*/ 3429000 h 4589463"/>
              <a:gd name="connsiteX10" fmla="*/ 3425825 w 3541713"/>
              <a:gd name="connsiteY10" fmla="*/ 0 h 45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41713" h="4589463">
                <a:moveTo>
                  <a:pt x="3425825" y="0"/>
                </a:moveTo>
                <a:lnTo>
                  <a:pt x="3541713" y="2933"/>
                </a:lnTo>
                <a:lnTo>
                  <a:pt x="3541713" y="2063259"/>
                </a:lnTo>
                <a:lnTo>
                  <a:pt x="3425825" y="2057400"/>
                </a:lnTo>
                <a:cubicBezTo>
                  <a:pt x="2669188" y="2057400"/>
                  <a:pt x="2055812" y="2671486"/>
                  <a:pt x="2055812" y="3429000"/>
                </a:cubicBezTo>
                <a:cubicBezTo>
                  <a:pt x="2055812" y="3902446"/>
                  <a:pt x="2295412" y="4319866"/>
                  <a:pt x="2659838" y="4566353"/>
                </a:cubicBezTo>
                <a:lnTo>
                  <a:pt x="2697835" y="4589463"/>
                </a:lnTo>
                <a:lnTo>
                  <a:pt x="205498" y="4589463"/>
                </a:lnTo>
                <a:lnTo>
                  <a:pt x="154019" y="4448680"/>
                </a:lnTo>
                <a:cubicBezTo>
                  <a:pt x="53923" y="4126563"/>
                  <a:pt x="0" y="3784085"/>
                  <a:pt x="0" y="3429000"/>
                </a:cubicBezTo>
                <a:cubicBezTo>
                  <a:pt x="0" y="1535216"/>
                  <a:pt x="1533794" y="0"/>
                  <a:pt x="3425825" y="0"/>
                </a:cubicBezTo>
                <a:close/>
              </a:path>
            </a:pathLst>
          </a:custGeom>
          <a:solidFill>
            <a:srgbClr val="D9D9D9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3EE435-6E45-4E3B-A733-6E2C7E8AF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01077F-ED3C-4C2A-B76C-7D75924D2DCE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216462-4D8D-4A32-B60D-085A5EB04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91A6A-B43D-49AB-82D2-DF065F4AA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5593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large chart &amp; text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BA35-FC71-45D6-B156-4EA30F000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10512426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F7CA95E8-43F2-40F7-B783-12BC81FE055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2039826"/>
            <a:ext cx="5256212" cy="3772012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7632" y="312477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8A37E24-8D15-475D-BEAD-2E77C6BE0C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11367" y="3578072"/>
            <a:ext cx="2955793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43740-7F20-4ED9-B956-8A986F09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55F1A6-4CAC-4A81-A654-DCDC98577E5C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B8D6F1-17C8-4197-A973-3572937F2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24930F-CD45-4F98-B14D-3D0FFE90F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46366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large chart &amp; text white logo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DBA35-FC71-45D6-B156-4EA30F000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10512426" cy="1081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F7CA95E8-43F2-40F7-B783-12BC81FE055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2039826"/>
            <a:ext cx="5256212" cy="3772012"/>
          </a:xfrm>
        </p:spPr>
        <p:txBody>
          <a:bodyPr/>
          <a:lstStyle>
            <a:lvl1pPr marL="74612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1628D43-31FD-462C-9BB1-A9CA331FE1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7632" y="312477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bg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8A37E24-8D15-475D-BEAD-2E77C6BE0C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11367" y="3578072"/>
            <a:ext cx="2955793" cy="1400922"/>
          </a:xfrm>
        </p:spPr>
        <p:txBody>
          <a:bodyPr/>
          <a:lstStyle>
            <a:lvl1pPr>
              <a:defRPr sz="1200" spc="-10" baseline="0">
                <a:solidFill>
                  <a:schemeClr val="bg1"/>
                </a:solidFill>
              </a:defRPr>
            </a:lvl1pPr>
            <a:lvl2pPr>
              <a:defRPr sz="1200" spc="-10" baseline="0">
                <a:solidFill>
                  <a:schemeClr val="bg1"/>
                </a:solidFill>
              </a:defRPr>
            </a:lvl2pPr>
            <a:lvl3pPr>
              <a:defRPr sz="1200" spc="-10" baseline="0">
                <a:solidFill>
                  <a:schemeClr val="bg1"/>
                </a:solidFill>
              </a:defRPr>
            </a:lvl3pPr>
            <a:lvl4pPr>
              <a:defRPr sz="1200" spc="-10" baseline="0">
                <a:solidFill>
                  <a:schemeClr val="bg1"/>
                </a:solidFill>
              </a:defRPr>
            </a:lvl4pPr>
            <a:lvl5pPr>
              <a:defRPr sz="1200" spc="-1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C43740-7F20-4ED9-B956-8A986F09C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9730C4-F991-442E-A51F-97A140B2A02D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B8D6F1-17C8-4197-A973-3572937F2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24930F-CD45-4F98-B14D-3D0FFE90F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72CB68-3012-4C96-A839-09F2FF1AA4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686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92FD3946-3120-4BC3-8233-4C6EDEDD99FB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9788" y="935036"/>
            <a:ext cx="7336598" cy="4876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2A3A5BF-4008-4138-852A-57C5F2FB37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52652" y="3147634"/>
            <a:ext cx="2871908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C65D4B5-E0AE-4F77-86EE-987F15BB74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6387" y="3608551"/>
            <a:ext cx="2955793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0CBB88-096D-4431-A29D-33E89160A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BD1CF-E220-400C-B634-769B390FAADE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318EAF-6F5D-4787-B32C-185F5489F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3B8C05-D828-4026-8B00-2FFB725FB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4570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mall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E7A4-54DA-40D6-A74D-48EBAC933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5F0261D-113C-4F2E-87C6-076CB3125414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788" y="2719137"/>
            <a:ext cx="3503612" cy="30942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8436391-FA77-4853-BAF8-159290E45F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8740" y="3147634"/>
            <a:ext cx="2804160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 b="1" cap="all" spc="1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D41930D-1316-4781-96F1-0548C964C1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2540" y="3607482"/>
            <a:ext cx="2880360" cy="1400922"/>
          </a:xfrm>
        </p:spPr>
        <p:txBody>
          <a:bodyPr/>
          <a:lstStyle>
            <a:lvl1pPr>
              <a:defRPr sz="1200" spc="-10" baseline="0"/>
            </a:lvl1pPr>
            <a:lvl2pPr>
              <a:defRPr sz="1200" spc="-10" baseline="0"/>
            </a:lvl2pPr>
            <a:lvl3pPr>
              <a:defRPr sz="1200" spc="-10" baseline="0"/>
            </a:lvl3pPr>
            <a:lvl4pPr>
              <a:defRPr sz="1200" spc="-10" baseline="0"/>
            </a:lvl4pPr>
            <a:lvl5pPr>
              <a:defRPr sz="1200" spc="-10" baseline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E67903-7882-4A18-BD5F-6DDD83C39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74C603-FA53-44F2-90C5-DE8A78CA2B99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595DDC-54C9-4B87-A994-599C27A9A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09F42C-815B-46B2-BC13-78964D281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6531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EF675-A26E-4100-A970-9A9A56A83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697E5608-E807-41A6-B6F7-CFDD11DFB576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838200" y="2701088"/>
            <a:ext cx="10514013" cy="31123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F285D8-DD1C-4EEC-B114-7432E98BF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2922E-4583-464C-BF37-E38334A4EE22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35988B-90DA-48EF-A57D-484BED232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153B4E-0662-4654-BF25-D2B75FF71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21104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59BAD-08E5-4F6E-9BE2-00E7E0339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B2ACA8D3-48FB-4C4A-B959-4B89F03D0A43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839786" y="2720340"/>
            <a:ext cx="9282111" cy="30930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D97731-7882-4C0E-B106-5B7DE92E4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A6B49-F1A3-4358-847E-3CA855986743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68C1E7-B9DE-477A-B1AB-7629881359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110B52-F067-4B38-8103-05D795ACE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52171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6E843-2A56-485C-BF45-70FB9A06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256213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45ADEF0-509B-47DB-A934-DC40B3BAB2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2499360"/>
            <a:ext cx="4547552" cy="3322320"/>
          </a:xfrm>
        </p:spPr>
        <p:txBody>
          <a:bodyPr/>
          <a:lstStyle>
            <a:lvl1pPr>
              <a:lnSpc>
                <a:spcPct val="114000"/>
              </a:lnSpc>
              <a:defRPr spc="10" baseline="0"/>
            </a:lvl1pPr>
            <a:lvl2pPr>
              <a:lnSpc>
                <a:spcPct val="114000"/>
              </a:lnSpc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46F5C67-9015-45A2-97A9-17FEB758C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88075" y="-1"/>
            <a:ext cx="6003925" cy="5821681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B91E4A-BC30-4A21-878B-633A9F7982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36E522-9361-4881-8473-89A7418855CF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503DF3-E848-4932-9291-13780E404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AB04B-A862-4B80-98D6-6A12EF91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7067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,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B6AA7A1-5E9E-49A0-8D97-996EFB9E5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1" y="463594"/>
            <a:ext cx="6167438" cy="42540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="1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C38378-7150-4F99-B8AA-9CBA7E7FE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FF2F00A-69EA-40A0-9474-5F32417AA8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46137" y="2771775"/>
            <a:ext cx="4764088" cy="323215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754C296-9DBD-4562-BC4F-790EE6DA61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9950" y="1"/>
            <a:ext cx="4972050" cy="60039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0337EA-E89B-4DDA-9C9E-F056FAF67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D3161-514B-EB41-9E46-15E91B4D61C5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04E1FA-ACC0-43A1-A7A8-E0E1D49D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AFC555-203B-45A3-B7AB-8196D242E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1749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mall header, tex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6E843-2A56-485C-BF45-70FB9A061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6167438" cy="10810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9659647-0570-49BF-B861-FC740DA0E1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4232" y="2360039"/>
            <a:ext cx="5823267" cy="325421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50" b="1" cap="all" spc="2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39DA77-6262-4C35-A77D-1DA107235B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2821940"/>
            <a:ext cx="5827712" cy="2989898"/>
          </a:xfrm>
        </p:spPr>
        <p:txBody>
          <a:bodyPr/>
          <a:lstStyle>
            <a:lvl1pPr>
              <a:lnSpc>
                <a:spcPct val="114000"/>
              </a:lnSpc>
              <a:defRPr spc="10" baseline="0">
                <a:solidFill>
                  <a:schemeClr val="tx1"/>
                </a:solidFill>
              </a:defRPr>
            </a:lvl1pPr>
            <a:lvl2pPr>
              <a:lnSpc>
                <a:spcPct val="114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14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14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14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46F5C67-9015-45A2-97A9-17FEB758C5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19950" y="-1"/>
            <a:ext cx="4972050" cy="3431381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0AA7CA1-11F1-43EE-A572-A8838EF849A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19950" y="3433762"/>
            <a:ext cx="4972050" cy="2378075"/>
          </a:xfrm>
        </p:spPr>
        <p:txBody>
          <a:bodyPr/>
          <a:lstStyle>
            <a:lvl1pPr marL="74612" indent="0">
              <a:buNone/>
              <a:defRPr/>
            </a:lvl1pPr>
          </a:lstStyle>
          <a:p>
            <a:r>
              <a:rPr lang="sv-SE"/>
              <a:t> 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B91E4A-BC30-4A21-878B-633A9F7982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86D2-EE5F-441E-B4E8-9CF26D644D41}" type="datetime1">
              <a:rPr lang="sv-SE" smtClean="0"/>
              <a:t>2019-11-28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503DF3-E848-4932-9291-13780E404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AB04B-A862-4B80-98D6-6A12EF91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65934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&amp; blac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12944-F072-440F-ABFE-9A8C4336F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68" y="3021550"/>
            <a:ext cx="6167438" cy="1081088"/>
          </a:xfrm>
        </p:spPr>
        <p:txBody>
          <a:bodyPr/>
          <a:lstStyle>
            <a:lvl1pPr>
              <a:defRPr sz="5900" spc="-110" baseline="0"/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C9FBF4-7CC8-4C07-AEA4-901F0DF6F1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3450" y="6206782"/>
            <a:ext cx="2184399" cy="480305"/>
          </a:xfrm>
          <a:prstGeom prst="rect">
            <a:avLst/>
          </a:prstGeom>
        </p:spPr>
      </p:pic>
      <p:sp>
        <p:nvSpPr>
          <p:cNvPr id="4" name="textruta 5">
            <a:extLst>
              <a:ext uri="{FF2B5EF4-FFF2-40B4-BE49-F238E27FC236}">
                <a16:creationId xmlns:a16="http://schemas.microsoft.com/office/drawing/2014/main" id="{4870C5E8-DC85-4257-9870-F637BDCA7B2E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22750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 &amp; white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12944-F072-440F-ABFE-9A8C4336F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2168" y="3021550"/>
            <a:ext cx="6167438" cy="1081088"/>
          </a:xfrm>
        </p:spPr>
        <p:txBody>
          <a:bodyPr/>
          <a:lstStyle>
            <a:lvl1pPr>
              <a:defRPr sz="5900" spc="-11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37DF78D-3B3C-41FA-8D7A-3F8DDDC45E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3450" y="6206783"/>
            <a:ext cx="2184399" cy="480305"/>
          </a:xfrm>
          <a:prstGeom prst="rect">
            <a:avLst/>
          </a:prstGeom>
        </p:spPr>
      </p:pic>
      <p:sp>
        <p:nvSpPr>
          <p:cNvPr id="5" name="textruta 5">
            <a:extLst>
              <a:ext uri="{FF2B5EF4-FFF2-40B4-BE49-F238E27FC236}">
                <a16:creationId xmlns:a16="http://schemas.microsoft.com/office/drawing/2014/main" id="{B57A26AF-D4E6-457A-A027-B7A170FDB1B2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23195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lin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0848C48-8D01-4784-A892-377C60FA96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80" y="2892288"/>
            <a:ext cx="6565972" cy="107973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FF1FB75-56EA-4AB3-BB47-AE76314801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3"/>
            <a:ext cx="478800" cy="479167"/>
          </a:xfrm>
          <a:prstGeom prst="rect">
            <a:avLst/>
          </a:prstGeom>
        </p:spPr>
      </p:pic>
      <p:sp>
        <p:nvSpPr>
          <p:cNvPr id="8" name="textruta 5">
            <a:extLst>
              <a:ext uri="{FF2B5EF4-FFF2-40B4-BE49-F238E27FC236}">
                <a16:creationId xmlns:a16="http://schemas.microsoft.com/office/drawing/2014/main" id="{4B42FC0D-2157-410F-BA60-787CA3709609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324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line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5B31D5-F0D5-4A89-AAB6-167794C5E2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80" y="2892288"/>
            <a:ext cx="6565972" cy="10797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ED2317-BB67-4979-84FB-5E6140E4FB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782"/>
            <a:ext cx="478800" cy="479170"/>
          </a:xfrm>
          <a:prstGeom prst="rect">
            <a:avLst/>
          </a:prstGeom>
        </p:spPr>
      </p:pic>
      <p:sp>
        <p:nvSpPr>
          <p:cNvPr id="9" name="textruta 5">
            <a:extLst>
              <a:ext uri="{FF2B5EF4-FFF2-40B4-BE49-F238E27FC236}">
                <a16:creationId xmlns:a16="http://schemas.microsoft.com/office/drawing/2014/main" id="{23E10080-0C6B-4844-B8AD-C1671D31B647}"/>
              </a:ext>
            </a:extLst>
          </p:cNvPr>
          <p:cNvSpPr txBox="1"/>
          <p:nvPr userDrawn="1"/>
        </p:nvSpPr>
        <p:spPr>
          <a:xfrm>
            <a:off x="2190000" y="-339637"/>
            <a:ext cx="781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</a:t>
            </a:r>
            <a:r>
              <a:rPr lang="sv-SE" sz="9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image to the </a:t>
            </a:r>
            <a:r>
              <a:rPr lang="sv-SE" sz="90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Right-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an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ty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pace.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mat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kgroun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Picture or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ur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900" baseline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red</a:t>
            </a:r>
            <a:r>
              <a:rPr lang="sv-SE" sz="9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age.</a:t>
            </a:r>
            <a:endParaRPr lang="sv-SE" sz="9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7364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5B422DE-271D-49B5-89A2-0FEA43E94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A65D78-07F5-49C5-BA12-621610E1AA12}" type="datetime1">
              <a:rPr lang="sv-SE" smtClean="0"/>
              <a:t>2019-11-28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5A65AA36-A183-452E-B379-EBDDFCDD8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uture Citie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0A1FF8F-8F26-4D5E-BF7C-EB006DA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2842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6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6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7" y="1029858"/>
            <a:ext cx="6167438" cy="1081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90775"/>
            <a:ext cx="8267700" cy="3125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446043"/>
            <a:ext cx="2278856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B511D8B9-88A6-1F43-B742-19AC583EAEF0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12054" y="6444137"/>
            <a:ext cx="2278856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00" cap="all" spc="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ctr"/>
          <a:lstStyle>
            <a:lvl1pPr algn="r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B69FFEE-B470-4FD1-91D4-B150141604D1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459"/>
            <a:ext cx="478800" cy="47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329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4" r:id="rId7"/>
    <p:sldLayoutId id="2147483663" r:id="rId8"/>
    <p:sldLayoutId id="2147483665" r:id="rId9"/>
    <p:sldLayoutId id="2147483678" r:id="rId10"/>
    <p:sldLayoutId id="2147483666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67" r:id="rId18"/>
    <p:sldLayoutId id="2147483685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55" r:id="rId30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200" kern="1200" spc="-2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8150" indent="-363538" algn="l" defTabSz="914400" rtl="0" eaLnBrk="1" latinLnBrk="0" hangingPunct="1">
        <a:lnSpc>
          <a:spcPct val="110000"/>
        </a:lnSpc>
        <a:spcBef>
          <a:spcPts val="1000"/>
        </a:spcBef>
        <a:spcAft>
          <a:spcPts val="200"/>
        </a:spcAft>
        <a:buFont typeface="Verdana" panose="020B0604030504040204" pitchFamily="34" charset="0"/>
        <a:buChar char="—"/>
        <a:defRPr sz="17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666750" indent="-225425" algn="l" defTabSz="914400" rtl="0" eaLnBrk="1" latinLnBrk="0" hangingPunct="1">
        <a:lnSpc>
          <a:spcPct val="85000"/>
        </a:lnSpc>
        <a:spcBef>
          <a:spcPts val="300"/>
        </a:spcBef>
        <a:spcAft>
          <a:spcPts val="200"/>
        </a:spcAft>
        <a:buFont typeface="Verdana" panose="020B0604030504040204" pitchFamily="34" charset="0"/>
        <a:buChar char="─"/>
        <a:defRPr sz="1450" kern="1200" spc="-40" baseline="0">
          <a:solidFill>
            <a:schemeClr val="tx1"/>
          </a:solidFill>
          <a:latin typeface="+mn-lt"/>
          <a:ea typeface="+mn-ea"/>
          <a:cs typeface="+mn-cs"/>
        </a:defRPr>
      </a:lvl2pPr>
      <a:lvl3pPr marL="890588" indent="-192088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3pPr>
      <a:lvl4pPr marL="1093788" indent="-179388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4pPr>
      <a:lvl5pPr marL="1352550" indent="-23495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99" userDrawn="1">
          <p15:clr>
            <a:srgbClr val="F26B43"/>
          </p15:clr>
        </p15:guide>
        <p15:guide id="4" orient="horz" pos="3662" userDrawn="1">
          <p15:clr>
            <a:srgbClr val="F26B43"/>
          </p15:clr>
        </p15:guide>
        <p15:guide id="6" orient="horz" pos="4247" userDrawn="1">
          <p15:clr>
            <a:srgbClr val="F26B43"/>
          </p15:clr>
        </p15:guide>
        <p15:guide id="7" pos="529" userDrawn="1">
          <p15:clr>
            <a:srgbClr val="F26B43"/>
          </p15:clr>
        </p15:guide>
        <p15:guide id="9" orient="horz" pos="3872" userDrawn="1">
          <p15:clr>
            <a:srgbClr val="F26B43"/>
          </p15:clr>
        </p15:guide>
        <p15:guide id="10" orient="horz" pos="600" userDrawn="1">
          <p15:clr>
            <a:srgbClr val="F26B43"/>
          </p15:clr>
        </p15:guide>
        <p15:guide id="11" orient="horz" pos="560" userDrawn="1">
          <p15:clr>
            <a:srgbClr val="F26B43"/>
          </p15:clr>
        </p15:guide>
        <p15:guide id="12" pos="3681" userDrawn="1">
          <p15:clr>
            <a:srgbClr val="F26B43"/>
          </p15:clr>
        </p15:guide>
        <p15:guide id="13" pos="3840" userDrawn="1">
          <p15:clr>
            <a:srgbClr val="F26B43"/>
          </p15:clr>
        </p15:guide>
        <p15:guide id="15" pos="7151" userDrawn="1">
          <p15:clr>
            <a:srgbClr val="F26B43"/>
          </p15:clr>
        </p15:guide>
        <p15:guide id="16" orient="horz" pos="378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7" y="1029858"/>
            <a:ext cx="6167438" cy="1081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90775"/>
            <a:ext cx="8267700" cy="3125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446043"/>
            <a:ext cx="2278856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AA646B70-AB66-4850-A923-66549D8D0F27}" type="datetime1">
              <a:rPr lang="sv-SE" smtClean="0"/>
              <a:t>2019-11-2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12054" y="6444137"/>
            <a:ext cx="2278856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00" cap="all" spc="2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gital Solutions CMD 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3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ctr"/>
          <a:lstStyle>
            <a:lvl1pPr algn="r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B69FFEE-B470-4FD1-91D4-B150141604D1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459"/>
            <a:ext cx="478800" cy="47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578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  <p:sldLayoutId id="2147483715" r:id="rId29"/>
    <p:sldLayoutId id="2147483716" r:id="rId30"/>
    <p:sldLayoutId id="2147483717" r:id="rId31"/>
    <p:sldLayoutId id="2147483718" r:id="rId32"/>
    <p:sldLayoutId id="2147483719" r:id="rId33"/>
    <p:sldLayoutId id="2147483720" r:id="rId34"/>
    <p:sldLayoutId id="2147483721" r:id="rId35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200" kern="1200" spc="-2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8150" indent="-363538" algn="l" defTabSz="914400" rtl="0" eaLnBrk="1" latinLnBrk="0" hangingPunct="1">
        <a:lnSpc>
          <a:spcPct val="110000"/>
        </a:lnSpc>
        <a:spcBef>
          <a:spcPts val="1000"/>
        </a:spcBef>
        <a:spcAft>
          <a:spcPts val="200"/>
        </a:spcAft>
        <a:buFont typeface="Verdana" panose="020B0604030504040204" pitchFamily="34" charset="0"/>
        <a:buChar char="—"/>
        <a:defRPr sz="17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666750" indent="-225425" algn="l" defTabSz="914400" rtl="0" eaLnBrk="1" latinLnBrk="0" hangingPunct="1">
        <a:lnSpc>
          <a:spcPct val="85000"/>
        </a:lnSpc>
        <a:spcBef>
          <a:spcPts val="300"/>
        </a:spcBef>
        <a:spcAft>
          <a:spcPts val="200"/>
        </a:spcAft>
        <a:buFont typeface="Verdana" panose="020B0604030504040204" pitchFamily="34" charset="0"/>
        <a:buChar char="─"/>
        <a:defRPr sz="1450" kern="1200" spc="-40" baseline="0">
          <a:solidFill>
            <a:schemeClr val="tx1"/>
          </a:solidFill>
          <a:latin typeface="+mn-lt"/>
          <a:ea typeface="+mn-ea"/>
          <a:cs typeface="+mn-cs"/>
        </a:defRPr>
      </a:lvl2pPr>
      <a:lvl3pPr marL="890588" indent="-192088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3pPr>
      <a:lvl4pPr marL="1093788" indent="-179388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4pPr>
      <a:lvl5pPr marL="1352550" indent="-23495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99">
          <p15:clr>
            <a:srgbClr val="F26B43"/>
          </p15:clr>
        </p15:guide>
        <p15:guide id="4" orient="horz" pos="3662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529">
          <p15:clr>
            <a:srgbClr val="F26B43"/>
          </p15:clr>
        </p15:guide>
        <p15:guide id="9" orient="horz" pos="3872">
          <p15:clr>
            <a:srgbClr val="F26B43"/>
          </p15:clr>
        </p15:guide>
        <p15:guide id="10" orient="horz" pos="600">
          <p15:clr>
            <a:srgbClr val="F26B43"/>
          </p15:clr>
        </p15:guide>
        <p15:guide id="11" orient="horz" pos="560">
          <p15:clr>
            <a:srgbClr val="F26B43"/>
          </p15:clr>
        </p15:guide>
        <p15:guide id="12" pos="3681">
          <p15:clr>
            <a:srgbClr val="F26B43"/>
          </p15:clr>
        </p15:guide>
        <p15:guide id="13" pos="3840">
          <p15:clr>
            <a:srgbClr val="F26B43"/>
          </p15:clr>
        </p15:guide>
        <p15:guide id="15" pos="7151">
          <p15:clr>
            <a:srgbClr val="F26B43"/>
          </p15:clr>
        </p15:guide>
        <p15:guide id="16" orient="horz" pos="378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7" y="1029858"/>
            <a:ext cx="6167438" cy="1081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90775"/>
            <a:ext cx="8267700" cy="3125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446043"/>
            <a:ext cx="2278856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20" baseline="0">
                <a:solidFill>
                  <a:schemeClr val="tx1"/>
                </a:solidFill>
              </a:defRPr>
            </a:lvl1pPr>
          </a:lstStyle>
          <a:p>
            <a:fld id="{448D66C1-1FB4-4F54-84F2-22B9FF96B74A}" type="datetime1">
              <a:rPr lang="sv-SE" smtClean="0"/>
              <a:t>2019-11-2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12054" y="6444137"/>
            <a:ext cx="2278856" cy="1905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00" cap="all" spc="2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Future Citi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1382" y="6444138"/>
            <a:ext cx="191505" cy="190501"/>
          </a:xfrm>
          <a:prstGeom prst="rect">
            <a:avLst/>
          </a:prstGeom>
          <a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ctr"/>
          <a:lstStyle>
            <a:lvl1pPr algn="r">
              <a:defRPr sz="500" b="1">
                <a:solidFill>
                  <a:schemeClr val="tx1"/>
                </a:solidFill>
              </a:defRPr>
            </a:lvl1pPr>
          </a:lstStyle>
          <a:p>
            <a:fld id="{0B1617BE-BA58-4B59-88D5-A8C7B239E91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B69FFEE-B470-4FD1-91D4-B150141604D1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30011" y="6206459"/>
            <a:ext cx="478800" cy="47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349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200" kern="1200" spc="-2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8150" indent="-363538" algn="l" defTabSz="914400" rtl="0" eaLnBrk="1" latinLnBrk="0" hangingPunct="1">
        <a:lnSpc>
          <a:spcPct val="110000"/>
        </a:lnSpc>
        <a:spcBef>
          <a:spcPts val="1000"/>
        </a:spcBef>
        <a:spcAft>
          <a:spcPts val="200"/>
        </a:spcAft>
        <a:buFont typeface="Verdana" panose="020B0604030504040204" pitchFamily="34" charset="0"/>
        <a:buChar char="—"/>
        <a:defRPr sz="1700" kern="1200" spc="-20" baseline="0">
          <a:solidFill>
            <a:schemeClr val="tx1"/>
          </a:solidFill>
          <a:latin typeface="+mn-lt"/>
          <a:ea typeface="+mn-ea"/>
          <a:cs typeface="+mn-cs"/>
        </a:defRPr>
      </a:lvl1pPr>
      <a:lvl2pPr marL="666750" indent="-225425" algn="l" defTabSz="914400" rtl="0" eaLnBrk="1" latinLnBrk="0" hangingPunct="1">
        <a:lnSpc>
          <a:spcPct val="85000"/>
        </a:lnSpc>
        <a:spcBef>
          <a:spcPts val="300"/>
        </a:spcBef>
        <a:spcAft>
          <a:spcPts val="200"/>
        </a:spcAft>
        <a:buFont typeface="Verdana" panose="020B0604030504040204" pitchFamily="34" charset="0"/>
        <a:buChar char="─"/>
        <a:defRPr sz="1450" kern="1200" spc="-40" baseline="0">
          <a:solidFill>
            <a:schemeClr val="tx1"/>
          </a:solidFill>
          <a:latin typeface="+mn-lt"/>
          <a:ea typeface="+mn-ea"/>
          <a:cs typeface="+mn-cs"/>
        </a:defRPr>
      </a:lvl2pPr>
      <a:lvl3pPr marL="890588" indent="-192088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3pPr>
      <a:lvl4pPr marL="1093788" indent="-179388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4pPr>
      <a:lvl5pPr marL="1352550" indent="-234950" algn="l" defTabSz="914400" rtl="0" eaLnBrk="1" latinLnBrk="0" hangingPunct="1">
        <a:lnSpc>
          <a:spcPct val="90000"/>
        </a:lnSpc>
        <a:spcBef>
          <a:spcPts val="500"/>
        </a:spcBef>
        <a:spcAft>
          <a:spcPts val="200"/>
        </a:spcAft>
        <a:buFont typeface="Verdana" panose="020B0604030504040204" pitchFamily="34" charset="0"/>
        <a:buChar char="─"/>
        <a:defRPr sz="1200" kern="1200" spc="-1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99">
          <p15:clr>
            <a:srgbClr val="F26B43"/>
          </p15:clr>
        </p15:guide>
        <p15:guide id="4" orient="horz" pos="3662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529">
          <p15:clr>
            <a:srgbClr val="F26B43"/>
          </p15:clr>
        </p15:guide>
        <p15:guide id="9" orient="horz" pos="3872">
          <p15:clr>
            <a:srgbClr val="F26B43"/>
          </p15:clr>
        </p15:guide>
        <p15:guide id="10" orient="horz" pos="600">
          <p15:clr>
            <a:srgbClr val="F26B43"/>
          </p15:clr>
        </p15:guide>
        <p15:guide id="11" orient="horz" pos="560">
          <p15:clr>
            <a:srgbClr val="F26B43"/>
          </p15:clr>
        </p15:guide>
        <p15:guide id="12" pos="3681">
          <p15:clr>
            <a:srgbClr val="F26B43"/>
          </p15:clr>
        </p15:guide>
        <p15:guide id="13" pos="3840">
          <p15:clr>
            <a:srgbClr val="F26B43"/>
          </p15:clr>
        </p15:guide>
        <p15:guide id="15" pos="7151">
          <p15:clr>
            <a:srgbClr val="F26B43"/>
          </p15:clr>
        </p15:guide>
        <p15:guide id="16" orient="horz" pos="37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32492B4-3A13-BB45-A339-8B8D27623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king Future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CAC2FA08-88DF-A045-87D2-D4604BA93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58838" y="3468999"/>
            <a:ext cx="5003800" cy="435447"/>
          </a:xfrm>
        </p:spPr>
        <p:txBody>
          <a:bodyPr/>
          <a:lstStyle/>
          <a:p>
            <a:r>
              <a:rPr lang="en-GB" dirty="0"/>
              <a:t>ÅF</a:t>
            </a:r>
          </a:p>
        </p:txBody>
      </p:sp>
      <p:sp>
        <p:nvSpPr>
          <p:cNvPr id="4" name="Platshållare för sidfot 2">
            <a:extLst>
              <a:ext uri="{FF2B5EF4-FFF2-40B4-BE49-F238E27FC236}">
                <a16:creationId xmlns:a16="http://schemas.microsoft.com/office/drawing/2014/main" id="{CD1E6B17-0816-B049-995E-09F448C47CAD}"/>
              </a:ext>
            </a:extLst>
          </p:cNvPr>
          <p:cNvSpPr txBox="1">
            <a:spLocks/>
          </p:cNvSpPr>
          <p:nvPr/>
        </p:nvSpPr>
        <p:spPr>
          <a:xfrm>
            <a:off x="954088" y="5259699"/>
            <a:ext cx="3541712" cy="43544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 cap="all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Lennart Waldenström, EVP and HEAD OF DIVISION</a:t>
            </a:r>
          </a:p>
        </p:txBody>
      </p:sp>
    </p:spTree>
    <p:extLst>
      <p:ext uri="{BB962C8B-B14F-4D97-AF65-F5344CB8AC3E}">
        <p14:creationId xmlns:p14="http://schemas.microsoft.com/office/powerpoint/2010/main" val="1202865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4">
            <a:extLst/>
          </p:cNvPr>
          <p:cNvSpPr txBox="1">
            <a:spLocks/>
          </p:cNvSpPr>
          <p:nvPr/>
        </p:nvSpPr>
        <p:spPr>
          <a:xfrm>
            <a:off x="7466274" y="2498959"/>
            <a:ext cx="3885940" cy="29898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74612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spcAft>
                <a:spcPts val="200"/>
              </a:spcAft>
              <a:buFont typeface="Verdana" panose="020B0604030504040204" pitchFamily="34" charset="0"/>
              <a:buNone/>
              <a:defRPr sz="17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6750" indent="-225425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450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0588" indent="-192088" algn="l" defTabSz="914400" rtl="0" eaLnBrk="1" latinLnBrk="0" hangingPunct="1">
              <a:lnSpc>
                <a:spcPct val="114000"/>
              </a:lnSpc>
              <a:spcBef>
                <a:spcPts val="5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2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3788" indent="-179388" algn="l" defTabSz="914400" rtl="0" eaLnBrk="1" latinLnBrk="0" hangingPunct="1">
              <a:lnSpc>
                <a:spcPct val="114000"/>
              </a:lnSpc>
              <a:spcBef>
                <a:spcPts val="5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2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2550" indent="-234950" algn="l" defTabSz="914400" rtl="0" eaLnBrk="1" latinLnBrk="0" hangingPunct="1">
              <a:lnSpc>
                <a:spcPct val="114000"/>
              </a:lnSpc>
              <a:spcBef>
                <a:spcPts val="5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2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4400" b="0" i="0" u="none" strike="noStrike" kern="1200" cap="none" spc="1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3 BSEK</a:t>
            </a:r>
            <a:br>
              <a:rPr kumimoji="0" lang="en-US" sz="1700" b="0" i="0" u="none" strike="noStrike" kern="1200" cap="none" spc="1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600" b="0" i="0" u="none" strike="noStrike" kern="1200" cap="none" spc="1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t Sales 2017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4400" b="0" i="0" u="none" strike="noStrike" kern="1200" cap="none" spc="1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,000</a:t>
            </a:r>
            <a:r>
              <a:rPr kumimoji="0" lang="en-US" sz="3600" b="0" i="0" u="none" strike="noStrike" kern="1200" cap="none" spc="1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br>
              <a:rPr lang="en-US" dirty="0">
                <a:solidFill>
                  <a:schemeClr val="accent5"/>
                </a:solidFill>
              </a:rPr>
            </a:br>
            <a:r>
              <a:rPr lang="en-US" dirty="0">
                <a:solidFill>
                  <a:schemeClr val="accent5"/>
                </a:solidFill>
              </a:rPr>
              <a:t>E</a:t>
            </a:r>
            <a:r>
              <a:rPr kumimoji="0" lang="en-US" sz="1700" b="0" i="0" u="none" strike="noStrike" kern="1200" cap="none" spc="1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ployees</a:t>
            </a:r>
            <a:endParaRPr kumimoji="0" lang="en-US" sz="1700" b="0" i="0" u="none" strike="noStrike" kern="1200" cap="none" spc="1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>
              <a:defRPr/>
            </a:pPr>
            <a:br>
              <a:rPr lang="en-US" dirty="0"/>
            </a:br>
            <a:r>
              <a:rPr lang="en-US" dirty="0"/>
              <a:t>The market’s most comprehensive </a:t>
            </a:r>
            <a:br>
              <a:rPr lang="en-US" dirty="0"/>
            </a:br>
            <a:r>
              <a:rPr lang="en-US" dirty="0"/>
              <a:t>portfolio of service offer across industries</a:t>
            </a:r>
          </a:p>
          <a:p>
            <a:pPr marL="74612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700" b="0" i="0" u="none" strike="noStrike" kern="1200" cap="none" spc="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C1F6A3-F1BF-4772-A7A5-C2E398D16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’re an engineering and design company</a:t>
            </a:r>
          </a:p>
        </p:txBody>
      </p:sp>
      <p:sp>
        <p:nvSpPr>
          <p:cNvPr id="8" name="Platshållare för sidfot 5">
            <a:extLst>
              <a:ext uri="{FF2B5EF4-FFF2-40B4-BE49-F238E27FC236}">
                <a16:creationId xmlns:a16="http://schemas.microsoft.com/office/drawing/2014/main" id="{95788F0F-B22C-4C46-883C-C64BE7249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12054" y="6444137"/>
            <a:ext cx="2278856" cy="190501"/>
          </a:xfrm>
        </p:spPr>
        <p:txBody>
          <a:bodyPr/>
          <a:lstStyle/>
          <a:p>
            <a:r>
              <a:rPr lang="en-GB"/>
              <a:t>CORPORATE PRESENTATION</a:t>
            </a:r>
            <a:endParaRPr lang="en-GB" dirty="0"/>
          </a:p>
        </p:txBody>
      </p:sp>
      <p:sp>
        <p:nvSpPr>
          <p:cNvPr id="9" name="Platshållare för bildnummer 6">
            <a:extLst>
              <a:ext uri="{FF2B5EF4-FFF2-40B4-BE49-F238E27FC236}">
                <a16:creationId xmlns:a16="http://schemas.microsoft.com/office/drawing/2014/main" id="{B512582F-9A7A-FD4B-A94C-7361B7313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2</a:t>
            </a:fld>
            <a:endParaRPr lang="en-GB" dirty="0"/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E3BA6DCA-BEC2-BE49-AD3F-5074FCE6FA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6083134"/>
              </p:ext>
            </p:extLst>
          </p:nvPr>
        </p:nvGraphicFramePr>
        <p:xfrm>
          <a:off x="-41609" y="2501990"/>
          <a:ext cx="4705789" cy="3137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11BAFE6-7106-F14D-81CB-EE9D56CE74EA}"/>
              </a:ext>
            </a:extLst>
          </p:cNvPr>
          <p:cNvSpPr txBox="1">
            <a:spLocks/>
          </p:cNvSpPr>
          <p:nvPr/>
        </p:nvSpPr>
        <p:spPr>
          <a:xfrm>
            <a:off x="4387396" y="3352313"/>
            <a:ext cx="1804140" cy="29898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74612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spcAft>
                <a:spcPts val="200"/>
              </a:spcAft>
              <a:buFont typeface="Verdana" panose="020B0604030504040204" pitchFamily="34" charset="0"/>
              <a:buNone/>
              <a:defRPr sz="1700" kern="1200" spc="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66750" indent="-225425" algn="l" defTabSz="914400" rtl="0" eaLnBrk="1" latinLnBrk="0" hangingPunct="1">
              <a:lnSpc>
                <a:spcPct val="114000"/>
              </a:lnSpc>
              <a:spcBef>
                <a:spcPts val="3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450" kern="1200" spc="-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0588" indent="-192088" algn="l" defTabSz="914400" rtl="0" eaLnBrk="1" latinLnBrk="0" hangingPunct="1">
              <a:lnSpc>
                <a:spcPct val="114000"/>
              </a:lnSpc>
              <a:spcBef>
                <a:spcPts val="5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2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3788" indent="-179388" algn="l" defTabSz="914400" rtl="0" eaLnBrk="1" latinLnBrk="0" hangingPunct="1">
              <a:lnSpc>
                <a:spcPct val="114000"/>
              </a:lnSpc>
              <a:spcBef>
                <a:spcPts val="5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2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2550" indent="-234950" algn="l" defTabSz="914400" rtl="0" eaLnBrk="1" latinLnBrk="0" hangingPunct="1">
              <a:lnSpc>
                <a:spcPct val="114000"/>
              </a:lnSpc>
              <a:spcBef>
                <a:spcPts val="500"/>
              </a:spcBef>
              <a:spcAft>
                <a:spcPts val="200"/>
              </a:spcAft>
              <a:buFont typeface="Verdana" panose="020B0604030504040204" pitchFamily="34" charset="0"/>
              <a:buChar char="─"/>
              <a:defRPr sz="12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dustry 34%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n-US" sz="1200" dirty="0"/>
              <a:t>Infrastructure 39%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gital Solutions 16%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tabLst/>
              <a:defRPr/>
            </a:pPr>
            <a:r>
              <a:rPr lang="en-US" sz="1200" dirty="0"/>
              <a:t>Energy 11%</a:t>
            </a:r>
            <a:endParaRPr kumimoji="0" lang="en-US" sz="1200" b="0" i="0" u="none" strike="noStrike" kern="1200" cap="none" spc="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612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700" b="0" i="0" u="none" strike="noStrike" kern="1200" cap="none" spc="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Ellips 19">
            <a:extLst>
              <a:ext uri="{FF2B5EF4-FFF2-40B4-BE49-F238E27FC236}">
                <a16:creationId xmlns:a16="http://schemas.microsoft.com/office/drawing/2014/main" id="{BF93A79D-805C-5048-9970-565A7C880197}"/>
              </a:ext>
            </a:extLst>
          </p:cNvPr>
          <p:cNvSpPr/>
          <p:nvPr/>
        </p:nvSpPr>
        <p:spPr>
          <a:xfrm>
            <a:off x="4245124" y="3382747"/>
            <a:ext cx="137160" cy="13716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Ellips 23">
            <a:extLst>
              <a:ext uri="{FF2B5EF4-FFF2-40B4-BE49-F238E27FC236}">
                <a16:creationId xmlns:a16="http://schemas.microsoft.com/office/drawing/2014/main" id="{9269BCD2-C4ED-EA49-AB9F-47175EAD8D65}"/>
              </a:ext>
            </a:extLst>
          </p:cNvPr>
          <p:cNvSpPr/>
          <p:nvPr/>
        </p:nvSpPr>
        <p:spPr>
          <a:xfrm>
            <a:off x="4245124" y="3726769"/>
            <a:ext cx="137160" cy="13716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5" name="Ellips 24">
            <a:extLst>
              <a:ext uri="{FF2B5EF4-FFF2-40B4-BE49-F238E27FC236}">
                <a16:creationId xmlns:a16="http://schemas.microsoft.com/office/drawing/2014/main" id="{CEB21FB5-49F8-4E4A-B4FF-BFF25F649834}"/>
              </a:ext>
            </a:extLst>
          </p:cNvPr>
          <p:cNvSpPr/>
          <p:nvPr/>
        </p:nvSpPr>
        <p:spPr>
          <a:xfrm>
            <a:off x="4245124" y="4057830"/>
            <a:ext cx="137160" cy="13716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Ellips 25">
            <a:extLst>
              <a:ext uri="{FF2B5EF4-FFF2-40B4-BE49-F238E27FC236}">
                <a16:creationId xmlns:a16="http://schemas.microsoft.com/office/drawing/2014/main" id="{CADB9B30-AF75-6044-8C08-B0AD272F0B48}"/>
              </a:ext>
            </a:extLst>
          </p:cNvPr>
          <p:cNvSpPr/>
          <p:nvPr/>
        </p:nvSpPr>
        <p:spPr>
          <a:xfrm>
            <a:off x="4245124" y="4388891"/>
            <a:ext cx="137160" cy="1371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7AC0E89B-3610-E949-99FA-0C4E96DDBA02}"/>
              </a:ext>
            </a:extLst>
          </p:cNvPr>
          <p:cNvSpPr txBox="1"/>
          <p:nvPr/>
        </p:nvSpPr>
        <p:spPr>
          <a:xfrm>
            <a:off x="1189977" y="3795349"/>
            <a:ext cx="22426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400" dirty="0"/>
              <a:t>Divisions </a:t>
            </a:r>
          </a:p>
        </p:txBody>
      </p:sp>
      <p:cxnSp>
        <p:nvCxnSpPr>
          <p:cNvPr id="31" name="Rak 30">
            <a:extLst>
              <a:ext uri="{FF2B5EF4-FFF2-40B4-BE49-F238E27FC236}">
                <a16:creationId xmlns:a16="http://schemas.microsoft.com/office/drawing/2014/main" id="{A0A93322-8990-8341-ADCD-6C2745CC6F10}"/>
              </a:ext>
            </a:extLst>
          </p:cNvPr>
          <p:cNvCxnSpPr>
            <a:cxnSpLocks/>
          </p:cNvCxnSpPr>
          <p:nvPr/>
        </p:nvCxnSpPr>
        <p:spPr>
          <a:xfrm>
            <a:off x="7560227" y="4724400"/>
            <a:ext cx="3791987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380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7EFA20C8-8444-234D-B965-7090788C57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OUR VISION</a:t>
            </a:r>
          </a:p>
        </p:txBody>
      </p:sp>
      <p:sp>
        <p:nvSpPr>
          <p:cNvPr id="14" name="Rubrik 13">
            <a:extLst>
              <a:ext uri="{FF2B5EF4-FFF2-40B4-BE49-F238E27FC236}">
                <a16:creationId xmlns:a16="http://schemas.microsoft.com/office/drawing/2014/main" id="{9C8CF94D-D14A-784E-BDA9-5CF9644D3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535" y="2197080"/>
            <a:ext cx="6465986" cy="2026128"/>
          </a:xfrm>
        </p:spPr>
        <p:txBody>
          <a:bodyPr/>
          <a:lstStyle/>
          <a:p>
            <a:r>
              <a:rPr lang="en-GB" dirty="0"/>
              <a:t>Providing leading</a:t>
            </a:r>
            <a:br>
              <a:rPr lang="en-GB" dirty="0"/>
            </a:br>
            <a:r>
              <a:rPr lang="en-GB" dirty="0"/>
              <a:t>solutions for generations</a:t>
            </a:r>
            <a:br>
              <a:rPr lang="en-GB" dirty="0"/>
            </a:br>
            <a:r>
              <a:rPr lang="en-GB" dirty="0"/>
              <a:t>to come.</a:t>
            </a:r>
          </a:p>
        </p:txBody>
      </p:sp>
      <p:sp>
        <p:nvSpPr>
          <p:cNvPr id="6" name="Platshållare för sidfot 3">
            <a:extLst>
              <a:ext uri="{FF2B5EF4-FFF2-40B4-BE49-F238E27FC236}">
                <a16:creationId xmlns:a16="http://schemas.microsoft.com/office/drawing/2014/main" id="{EFA9C450-9138-45F8-AC69-F79B1F22A6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812054" y="6444137"/>
            <a:ext cx="2278856" cy="190501"/>
          </a:xfrm>
        </p:spPr>
        <p:txBody>
          <a:bodyPr/>
          <a:lstStyle/>
          <a:p>
            <a:r>
              <a:rPr lang="en-GB" dirty="0"/>
              <a:t>CORPORATE PRESENTATION</a:t>
            </a:r>
          </a:p>
        </p:txBody>
      </p:sp>
      <p:sp>
        <p:nvSpPr>
          <p:cNvPr id="7" name="Platshållare för bildnummer 4">
            <a:extLst>
              <a:ext uri="{FF2B5EF4-FFF2-40B4-BE49-F238E27FC236}">
                <a16:creationId xmlns:a16="http://schemas.microsoft.com/office/drawing/2014/main" id="{8E2595E7-CCE6-45EB-B64B-36EB7EC176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61382" y="6444138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279184-4EAB-48F4-A1D4-CBD7ECB3B769}"/>
              </a:ext>
            </a:extLst>
          </p:cNvPr>
          <p:cNvSpPr/>
          <p:nvPr/>
        </p:nvSpPr>
        <p:spPr>
          <a:xfrm>
            <a:off x="754253" y="4784787"/>
            <a:ext cx="559416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4200" spc="-20" dirty="0">
                <a:solidFill>
                  <a:prstClr val="white"/>
                </a:solidFill>
                <a:ea typeface="+mj-ea"/>
                <a:cs typeface="+mj-cs"/>
              </a:rPr>
              <a:t>ÅF – Making Futur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51613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7EFA20C8-8444-234D-B965-7090788C57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oUR</a:t>
            </a:r>
            <a:r>
              <a:rPr lang="en-GB" dirty="0"/>
              <a:t> MISSION</a:t>
            </a:r>
          </a:p>
        </p:txBody>
      </p:sp>
      <p:sp>
        <p:nvSpPr>
          <p:cNvPr id="14" name="Rubrik 13">
            <a:extLst>
              <a:ext uri="{FF2B5EF4-FFF2-40B4-BE49-F238E27FC236}">
                <a16:creationId xmlns:a16="http://schemas.microsoft.com/office/drawing/2014/main" id="{9C8CF94D-D14A-784E-BDA9-5CF9644D3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462" y="2197080"/>
            <a:ext cx="6004074" cy="1950714"/>
          </a:xfrm>
          <a:effectLst>
            <a:outerShdw blurRad="101600" dist="38100" dir="2700000" algn="tl" rotWithShape="0">
              <a:prstClr val="black">
                <a:alpha val="50000"/>
              </a:prstClr>
            </a:outerShdw>
          </a:effectLst>
        </p:spPr>
        <p:txBody>
          <a:bodyPr/>
          <a:lstStyle/>
          <a:p>
            <a:r>
              <a:rPr lang="en-GB" dirty="0"/>
              <a:t>We create sustainable engineering and design solutions</a:t>
            </a:r>
          </a:p>
        </p:txBody>
      </p:sp>
      <p:sp>
        <p:nvSpPr>
          <p:cNvPr id="6" name="Platshållare för sidfot 3">
            <a:extLst>
              <a:ext uri="{FF2B5EF4-FFF2-40B4-BE49-F238E27FC236}">
                <a16:creationId xmlns:a16="http://schemas.microsoft.com/office/drawing/2014/main" id="{75FEEBF2-213E-4B96-8B80-10F4D32732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812054" y="6444137"/>
            <a:ext cx="2278856" cy="190501"/>
          </a:xfrm>
        </p:spPr>
        <p:txBody>
          <a:bodyPr/>
          <a:lstStyle/>
          <a:p>
            <a:r>
              <a:rPr lang="en-GB" dirty="0"/>
              <a:t>CORPORATE PRESENTATION</a:t>
            </a:r>
          </a:p>
        </p:txBody>
      </p:sp>
      <p:sp>
        <p:nvSpPr>
          <p:cNvPr id="7" name="Platshållare för bildnummer 4">
            <a:extLst>
              <a:ext uri="{FF2B5EF4-FFF2-40B4-BE49-F238E27FC236}">
                <a16:creationId xmlns:a16="http://schemas.microsoft.com/office/drawing/2014/main" id="{369DE7B6-AFEF-4FC0-99DF-EBCF98F3C1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61382" y="6444138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51249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0000"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2"/>
          <p:cNvSpPr>
            <a:spLocks noGrp="1"/>
          </p:cNvSpPr>
          <p:nvPr>
            <p:ph type="body" sz="quarter" idx="4294967295"/>
          </p:nvPr>
        </p:nvSpPr>
        <p:spPr>
          <a:xfrm>
            <a:off x="969542" y="1706441"/>
            <a:ext cx="2589863" cy="2841496"/>
          </a:xfrm>
          <a:prstGeom prst="rect">
            <a:avLst/>
          </a:prstGeom>
          <a:solidFill>
            <a:schemeClr val="tx1">
              <a:alpha val="64000"/>
            </a:schemeClr>
          </a:solidFill>
        </p:spPr>
        <p:txBody>
          <a:bodyPr/>
          <a:lstStyle/>
          <a:p>
            <a:pPr marL="74612" indent="0">
              <a:lnSpc>
                <a:spcPct val="100000"/>
              </a:lnSpc>
              <a:spcBef>
                <a:spcPts val="1000"/>
              </a:spcBef>
              <a:buNone/>
              <a:defRPr/>
            </a:pPr>
            <a:endParaRPr lang="sv-SE" sz="1200" spc="10" dirty="0">
              <a:solidFill>
                <a:schemeClr val="bg1"/>
              </a:solidFill>
            </a:endParaRPr>
          </a:p>
          <a:p>
            <a:pPr marL="74612" indent="0">
              <a:lnSpc>
                <a:spcPct val="100000"/>
              </a:lnSpc>
              <a:spcBef>
                <a:spcPts val="1000"/>
              </a:spcBef>
              <a:buNone/>
              <a:defRPr/>
            </a:pPr>
            <a:endParaRPr lang="sv-SE" sz="1200" spc="10" dirty="0">
              <a:solidFill>
                <a:schemeClr val="bg1"/>
              </a:solidFill>
            </a:endParaRPr>
          </a:p>
          <a:p>
            <a:pPr marL="74612" indent="0">
              <a:lnSpc>
                <a:spcPct val="100000"/>
              </a:lnSpc>
              <a:spcBef>
                <a:spcPts val="1000"/>
              </a:spcBef>
              <a:buNone/>
              <a:defRPr/>
            </a:pPr>
            <a:endParaRPr lang="sv-SE" sz="1200" spc="10" dirty="0">
              <a:solidFill>
                <a:schemeClr val="bg1"/>
              </a:solidFill>
            </a:endParaRPr>
          </a:p>
          <a:p>
            <a:pPr marL="74612" indent="0">
              <a:lnSpc>
                <a:spcPct val="100000"/>
              </a:lnSpc>
              <a:spcBef>
                <a:spcPts val="1000"/>
              </a:spcBef>
              <a:buNone/>
              <a:defRPr/>
            </a:pPr>
            <a:endParaRPr lang="sv-SE" sz="1200" spc="10" dirty="0">
              <a:solidFill>
                <a:schemeClr val="bg1"/>
              </a:solidFill>
            </a:endParaRPr>
          </a:p>
          <a:p>
            <a:pPr marL="74612" indent="0">
              <a:lnSpc>
                <a:spcPct val="100000"/>
              </a:lnSpc>
              <a:buNone/>
              <a:defRPr/>
            </a:pPr>
            <a:r>
              <a:rPr lang="en-US" sz="1200" spc="10" dirty="0">
                <a:solidFill>
                  <a:schemeClr val="bg1"/>
                </a:solidFill>
              </a:rPr>
              <a:t>70% of the world population is expected to live in cities at 2050</a:t>
            </a:r>
          </a:p>
          <a:p>
            <a:pPr marL="74612" indent="0">
              <a:lnSpc>
                <a:spcPct val="100000"/>
              </a:lnSpc>
              <a:buNone/>
              <a:defRPr/>
            </a:pPr>
            <a:r>
              <a:rPr lang="en-US" sz="1200" spc="10" dirty="0">
                <a:solidFill>
                  <a:schemeClr val="bg1"/>
                </a:solidFill>
              </a:rPr>
              <a:t>Half of the world population lives already today at 3% of the earth surface</a:t>
            </a:r>
          </a:p>
          <a:p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279184-4EAB-48F4-A1D4-CBD7ECB3B769}"/>
              </a:ext>
            </a:extLst>
          </p:cNvPr>
          <p:cNvSpPr/>
          <p:nvPr/>
        </p:nvSpPr>
        <p:spPr>
          <a:xfrm>
            <a:off x="850304" y="1706441"/>
            <a:ext cx="2828338" cy="14465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800" b="0" i="0" u="none" strike="noStrike" kern="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70%</a:t>
            </a:r>
          </a:p>
        </p:txBody>
      </p:sp>
      <p:sp>
        <p:nvSpPr>
          <p:cNvPr id="6" name="Rectangle 5">
            <a:extLst/>
          </p:cNvPr>
          <p:cNvSpPr/>
          <p:nvPr/>
        </p:nvSpPr>
        <p:spPr>
          <a:xfrm>
            <a:off x="4726751" y="1706441"/>
            <a:ext cx="2800767" cy="2800767"/>
          </a:xfrm>
          <a:prstGeom prst="rect">
            <a:avLst/>
          </a:prstGeom>
          <a:solidFill>
            <a:schemeClr val="tx1">
              <a:alpha val="62000"/>
            </a:schemeClr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800" b="0" i="0" u="none" strike="noStrike" kern="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50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8800" b="0" i="0" u="none" strike="noStrike" kern="0" cap="none" spc="-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227539" y="2086032"/>
            <a:ext cx="98135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4612" marR="0" lvl="0" indent="0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mega</a:t>
            </a:r>
            <a:br>
              <a:rPr kumimoji="0" lang="sv-SE" sz="2000" b="0" i="0" u="none" strike="noStrike" kern="0" cap="none" spc="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</a:br>
            <a:r>
              <a:rPr kumimoji="0" lang="sv-SE" sz="2000" b="0" i="0" u="none" strike="noStrike" kern="0" cap="none" spc="1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ities</a:t>
            </a:r>
            <a:endParaRPr kumimoji="0" lang="sv-SE" sz="2000" b="0" i="0" u="none" strike="noStrike" kern="0" cap="none" spc="1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62666" y="2993973"/>
            <a:ext cx="2428979" cy="1328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1000"/>
              </a:spcBef>
              <a:defRPr/>
            </a:pPr>
            <a:r>
              <a:rPr lang="en-US" sz="1200" kern="0" spc="10" dirty="0">
                <a:solidFill>
                  <a:schemeClr val="bg1"/>
                </a:solidFill>
              </a:rPr>
              <a:t>Today we have about 50 mega cities, each one home to over 10 million inhabitants.</a:t>
            </a:r>
          </a:p>
          <a:p>
            <a:pPr lvl="0">
              <a:spcBef>
                <a:spcPts val="1000"/>
              </a:spcBef>
              <a:defRPr/>
            </a:pPr>
            <a:r>
              <a:rPr lang="en-US" sz="1200" kern="0" spc="10" dirty="0">
                <a:solidFill>
                  <a:schemeClr val="bg1"/>
                </a:solidFill>
              </a:rPr>
              <a:t>1990 we had about 10 mega cities</a:t>
            </a:r>
          </a:p>
        </p:txBody>
      </p:sp>
      <p:sp>
        <p:nvSpPr>
          <p:cNvPr id="12" name="Rectangle 11">
            <a:extLst/>
          </p:cNvPr>
          <p:cNvSpPr/>
          <p:nvPr/>
        </p:nvSpPr>
        <p:spPr>
          <a:xfrm>
            <a:off x="8608082" y="1706441"/>
            <a:ext cx="2581895" cy="2800767"/>
          </a:xfrm>
          <a:prstGeom prst="rect">
            <a:avLst/>
          </a:prstGeom>
          <a:solidFill>
            <a:schemeClr val="tx1">
              <a:alpha val="65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800" b="0" i="0" u="none" strike="noStrike" kern="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6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8800" b="0" i="0" u="none" strike="noStrike" kern="0" cap="none" spc="-2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370580" y="2075773"/>
            <a:ext cx="15837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4612" lvl="0">
              <a:spcBef>
                <a:spcPts val="1000"/>
              </a:spcBef>
              <a:spcAft>
                <a:spcPts val="200"/>
              </a:spcAft>
              <a:defRPr/>
            </a:pPr>
            <a:r>
              <a:rPr lang="en-US" sz="2000" kern="0" spc="10" dirty="0">
                <a:solidFill>
                  <a:schemeClr val="bg1"/>
                </a:solidFill>
              </a:rPr>
              <a:t>billion in</a:t>
            </a:r>
            <a:br>
              <a:rPr lang="en-US" sz="2000" kern="0" spc="10" dirty="0">
                <a:solidFill>
                  <a:schemeClr val="bg1"/>
                </a:solidFill>
              </a:rPr>
            </a:br>
            <a:r>
              <a:rPr lang="en-US" sz="2000" kern="0" spc="10" dirty="0">
                <a:solidFill>
                  <a:schemeClr val="bg1"/>
                </a:solidFill>
              </a:rPr>
              <a:t>mid-class 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8608082" y="3036718"/>
            <a:ext cx="2581895" cy="1217430"/>
          </a:xfrm>
          <a:prstGeom prst="rect">
            <a:avLst/>
          </a:prstGeom>
        </p:spPr>
        <p:txBody>
          <a:bodyPr/>
          <a:lstStyle/>
          <a:p>
            <a:pPr marL="74612" indent="0">
              <a:lnSpc>
                <a:spcPct val="100000"/>
              </a:lnSpc>
              <a:buNone/>
              <a:defRPr/>
            </a:pPr>
            <a:r>
              <a:rPr lang="en-US" sz="1200" spc="10" dirty="0">
                <a:solidFill>
                  <a:schemeClr val="bg1"/>
                </a:solidFill>
              </a:rPr>
              <a:t>The mid class in the world is estimated to nearly double until 2030, from todays 3 billion to 6 billion</a:t>
            </a:r>
          </a:p>
        </p:txBody>
      </p:sp>
    </p:spTree>
    <p:extLst>
      <p:ext uri="{BB962C8B-B14F-4D97-AF65-F5344CB8AC3E}">
        <p14:creationId xmlns:p14="http://schemas.microsoft.com/office/powerpoint/2010/main" val="3250684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/>
      <p:bldP spid="12" grpId="0" animBg="1"/>
      <p:bldP spid="13" grpId="0"/>
      <p:bldP spid="1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B068E6B1-6DE9-BA4C-824D-CE920B2C919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9787" y="958850"/>
            <a:ext cx="7959383" cy="1081088"/>
          </a:xfrm>
        </p:spPr>
        <p:txBody>
          <a:bodyPr/>
          <a:lstStyle/>
          <a:p>
            <a:r>
              <a:rPr lang="en-GB" dirty="0"/>
              <a:t>Our solutions respond to global trends</a:t>
            </a:r>
          </a:p>
        </p:txBody>
      </p:sp>
      <p:sp>
        <p:nvSpPr>
          <p:cNvPr id="22" name="Platshållare för sidfot 5">
            <a:extLst>
              <a:ext uri="{FF2B5EF4-FFF2-40B4-BE49-F238E27FC236}">
                <a16:creationId xmlns:a16="http://schemas.microsoft.com/office/drawing/2014/main" id="{5D9763E0-65C3-4F28-BBFB-EAF709F63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12054" y="6444137"/>
            <a:ext cx="2278856" cy="190501"/>
          </a:xfrm>
        </p:spPr>
        <p:txBody>
          <a:bodyPr/>
          <a:lstStyle/>
          <a:p>
            <a:r>
              <a:rPr lang="en-GB" dirty="0"/>
              <a:t>CORPORATE PRESENTATION</a:t>
            </a:r>
          </a:p>
        </p:txBody>
      </p:sp>
      <p:sp>
        <p:nvSpPr>
          <p:cNvPr id="23" name="Platshållare för bildnummer 6">
            <a:extLst>
              <a:ext uri="{FF2B5EF4-FFF2-40B4-BE49-F238E27FC236}">
                <a16:creationId xmlns:a16="http://schemas.microsoft.com/office/drawing/2014/main" id="{8C169893-95FD-43AC-9E7B-9AA97D24F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</p:spPr>
        <p:txBody>
          <a:bodyPr/>
          <a:lstStyle/>
          <a:p>
            <a:fld id="{0B1617BE-BA58-4B59-88D5-A8C7B239E913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845" y="3465616"/>
            <a:ext cx="2135842" cy="18137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7009" y="3077946"/>
            <a:ext cx="1699687" cy="22014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71212" y="3490273"/>
            <a:ext cx="1603915" cy="17890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9643" y="3455953"/>
            <a:ext cx="1943853" cy="1823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0887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Product"/>
          <p:cNvSpPr txBox="1"/>
          <p:nvPr/>
        </p:nvSpPr>
        <p:spPr>
          <a:xfrm>
            <a:off x="1243062" y="5076043"/>
            <a:ext cx="869149" cy="307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2800" b="1">
                <a:solidFill>
                  <a:srgbClr val="53585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pPr marL="0" marR="0" lvl="0" indent="0" algn="ctr" defTabSz="1828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Produc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BBB9AC-DDED-4D8B-A5A5-06D1D88453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igital Solutions, Market</a:t>
            </a:r>
            <a:r>
              <a:rPr lang="en-GB" dirty="0"/>
              <a:t> AT A GLANCE</a:t>
            </a:r>
            <a:endParaRPr lang="en-US" dirty="0"/>
          </a:p>
        </p:txBody>
      </p:sp>
      <p:grpSp>
        <p:nvGrpSpPr>
          <p:cNvPr id="53" name="Grupp 52">
            <a:extLst>
              <a:ext uri="{FF2B5EF4-FFF2-40B4-BE49-F238E27FC236}">
                <a16:creationId xmlns:a16="http://schemas.microsoft.com/office/drawing/2014/main" id="{EF552A00-6CEE-394A-B9F9-187864C2A414}"/>
              </a:ext>
            </a:extLst>
          </p:cNvPr>
          <p:cNvGrpSpPr/>
          <p:nvPr/>
        </p:nvGrpSpPr>
        <p:grpSpPr>
          <a:xfrm>
            <a:off x="1336628" y="3924694"/>
            <a:ext cx="674024" cy="623382"/>
            <a:chOff x="9631363" y="5491163"/>
            <a:chExt cx="887413" cy="820738"/>
          </a:xfrm>
        </p:grpSpPr>
        <p:sp>
          <p:nvSpPr>
            <p:cNvPr id="54" name="Freeform 66">
              <a:extLst>
                <a:ext uri="{FF2B5EF4-FFF2-40B4-BE49-F238E27FC236}">
                  <a16:creationId xmlns:a16="http://schemas.microsoft.com/office/drawing/2014/main" id="{499F6B8F-B2DE-5B4C-AC66-2209F84A16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1363" y="5491163"/>
              <a:ext cx="887413" cy="700088"/>
            </a:xfrm>
            <a:custGeom>
              <a:avLst/>
              <a:gdLst>
                <a:gd name="T0" fmla="*/ 340 w 386"/>
                <a:gd name="T1" fmla="*/ 144 h 305"/>
                <a:gd name="T2" fmla="*/ 305 w 386"/>
                <a:gd name="T3" fmla="*/ 125 h 305"/>
                <a:gd name="T4" fmla="*/ 255 w 386"/>
                <a:gd name="T5" fmla="*/ 126 h 305"/>
                <a:gd name="T6" fmla="*/ 255 w 386"/>
                <a:gd name="T7" fmla="*/ 24 h 305"/>
                <a:gd name="T8" fmla="*/ 231 w 386"/>
                <a:gd name="T9" fmla="*/ 0 h 305"/>
                <a:gd name="T10" fmla="*/ 23 w 386"/>
                <a:gd name="T11" fmla="*/ 0 h 305"/>
                <a:gd name="T12" fmla="*/ 0 w 386"/>
                <a:gd name="T13" fmla="*/ 24 h 305"/>
                <a:gd name="T14" fmla="*/ 0 w 386"/>
                <a:gd name="T15" fmla="*/ 188 h 305"/>
                <a:gd name="T16" fmla="*/ 0 w 386"/>
                <a:gd name="T17" fmla="*/ 189 h 305"/>
                <a:gd name="T18" fmla="*/ 0 w 386"/>
                <a:gd name="T19" fmla="*/ 190 h 305"/>
                <a:gd name="T20" fmla="*/ 0 w 386"/>
                <a:gd name="T21" fmla="*/ 281 h 305"/>
                <a:gd name="T22" fmla="*/ 23 w 386"/>
                <a:gd name="T23" fmla="*/ 305 h 305"/>
                <a:gd name="T24" fmla="*/ 33 w 386"/>
                <a:gd name="T25" fmla="*/ 305 h 305"/>
                <a:gd name="T26" fmla="*/ 40 w 386"/>
                <a:gd name="T27" fmla="*/ 299 h 305"/>
                <a:gd name="T28" fmla="*/ 94 w 386"/>
                <a:gd name="T29" fmla="*/ 259 h 305"/>
                <a:gd name="T30" fmla="*/ 147 w 386"/>
                <a:gd name="T31" fmla="*/ 299 h 305"/>
                <a:gd name="T32" fmla="*/ 155 w 386"/>
                <a:gd name="T33" fmla="*/ 305 h 305"/>
                <a:gd name="T34" fmla="*/ 231 w 386"/>
                <a:gd name="T35" fmla="*/ 305 h 305"/>
                <a:gd name="T36" fmla="*/ 238 w 386"/>
                <a:gd name="T37" fmla="*/ 299 h 305"/>
                <a:gd name="T38" fmla="*/ 292 w 386"/>
                <a:gd name="T39" fmla="*/ 259 h 305"/>
                <a:gd name="T40" fmla="*/ 345 w 386"/>
                <a:gd name="T41" fmla="*/ 299 h 305"/>
                <a:gd name="T42" fmla="*/ 353 w 386"/>
                <a:gd name="T43" fmla="*/ 305 h 305"/>
                <a:gd name="T44" fmla="*/ 362 w 386"/>
                <a:gd name="T45" fmla="*/ 305 h 305"/>
                <a:gd name="T46" fmla="*/ 386 w 386"/>
                <a:gd name="T47" fmla="*/ 281 h 305"/>
                <a:gd name="T48" fmla="*/ 386 w 386"/>
                <a:gd name="T49" fmla="*/ 234 h 305"/>
                <a:gd name="T50" fmla="*/ 370 w 386"/>
                <a:gd name="T51" fmla="*/ 186 h 305"/>
                <a:gd name="T52" fmla="*/ 340 w 386"/>
                <a:gd name="T53" fmla="*/ 144 h 305"/>
                <a:gd name="T54" fmla="*/ 15 w 386"/>
                <a:gd name="T55" fmla="*/ 24 h 305"/>
                <a:gd name="T56" fmla="*/ 23 w 386"/>
                <a:gd name="T57" fmla="*/ 16 h 305"/>
                <a:gd name="T58" fmla="*/ 231 w 386"/>
                <a:gd name="T59" fmla="*/ 16 h 305"/>
                <a:gd name="T60" fmla="*/ 239 w 386"/>
                <a:gd name="T61" fmla="*/ 24 h 305"/>
                <a:gd name="T62" fmla="*/ 239 w 386"/>
                <a:gd name="T63" fmla="*/ 188 h 305"/>
                <a:gd name="T64" fmla="*/ 231 w 386"/>
                <a:gd name="T65" fmla="*/ 196 h 305"/>
                <a:gd name="T66" fmla="*/ 23 w 386"/>
                <a:gd name="T67" fmla="*/ 196 h 305"/>
                <a:gd name="T68" fmla="*/ 15 w 386"/>
                <a:gd name="T69" fmla="*/ 188 h 305"/>
                <a:gd name="T70" fmla="*/ 15 w 386"/>
                <a:gd name="T71" fmla="*/ 24 h 305"/>
                <a:gd name="T72" fmla="*/ 370 w 386"/>
                <a:gd name="T73" fmla="*/ 281 h 305"/>
                <a:gd name="T74" fmla="*/ 362 w 386"/>
                <a:gd name="T75" fmla="*/ 289 h 305"/>
                <a:gd name="T76" fmla="*/ 358 w 386"/>
                <a:gd name="T77" fmla="*/ 289 h 305"/>
                <a:gd name="T78" fmla="*/ 292 w 386"/>
                <a:gd name="T79" fmla="*/ 243 h 305"/>
                <a:gd name="T80" fmla="*/ 225 w 386"/>
                <a:gd name="T81" fmla="*/ 289 h 305"/>
                <a:gd name="T82" fmla="*/ 160 w 386"/>
                <a:gd name="T83" fmla="*/ 289 h 305"/>
                <a:gd name="T84" fmla="*/ 94 w 386"/>
                <a:gd name="T85" fmla="*/ 243 h 305"/>
                <a:gd name="T86" fmla="*/ 27 w 386"/>
                <a:gd name="T87" fmla="*/ 289 h 305"/>
                <a:gd name="T88" fmla="*/ 23 w 386"/>
                <a:gd name="T89" fmla="*/ 289 h 305"/>
                <a:gd name="T90" fmla="*/ 15 w 386"/>
                <a:gd name="T91" fmla="*/ 281 h 305"/>
                <a:gd name="T92" fmla="*/ 15 w 386"/>
                <a:gd name="T93" fmla="*/ 212 h 305"/>
                <a:gd name="T94" fmla="*/ 23 w 386"/>
                <a:gd name="T95" fmla="*/ 213 h 305"/>
                <a:gd name="T96" fmla="*/ 231 w 386"/>
                <a:gd name="T97" fmla="*/ 213 h 305"/>
                <a:gd name="T98" fmla="*/ 255 w 386"/>
                <a:gd name="T99" fmla="*/ 190 h 305"/>
                <a:gd name="T100" fmla="*/ 255 w 386"/>
                <a:gd name="T101" fmla="*/ 142 h 305"/>
                <a:gd name="T102" fmla="*/ 305 w 386"/>
                <a:gd name="T103" fmla="*/ 141 h 305"/>
                <a:gd name="T104" fmla="*/ 328 w 386"/>
                <a:gd name="T105" fmla="*/ 154 h 305"/>
                <a:gd name="T106" fmla="*/ 357 w 386"/>
                <a:gd name="T107" fmla="*/ 195 h 305"/>
                <a:gd name="T108" fmla="*/ 370 w 386"/>
                <a:gd name="T109" fmla="*/ 234 h 305"/>
                <a:gd name="T110" fmla="*/ 370 w 386"/>
                <a:gd name="T111" fmla="*/ 28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6" h="305">
                  <a:moveTo>
                    <a:pt x="340" y="144"/>
                  </a:moveTo>
                  <a:cubicBezTo>
                    <a:pt x="334" y="136"/>
                    <a:pt x="317" y="125"/>
                    <a:pt x="305" y="125"/>
                  </a:cubicBezTo>
                  <a:cubicBezTo>
                    <a:pt x="305" y="125"/>
                    <a:pt x="305" y="125"/>
                    <a:pt x="255" y="126"/>
                  </a:cubicBezTo>
                  <a:cubicBezTo>
                    <a:pt x="255" y="126"/>
                    <a:pt x="255" y="126"/>
                    <a:pt x="255" y="24"/>
                  </a:cubicBezTo>
                  <a:cubicBezTo>
                    <a:pt x="255" y="11"/>
                    <a:pt x="244" y="0"/>
                    <a:pt x="231" y="0"/>
                  </a:cubicBezTo>
                  <a:cubicBezTo>
                    <a:pt x="231" y="0"/>
                    <a:pt x="231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24"/>
                    <a:pt x="0" y="24"/>
                    <a:pt x="0" y="188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0" y="189"/>
                    <a:pt x="0" y="190"/>
                  </a:cubicBezTo>
                  <a:cubicBezTo>
                    <a:pt x="0" y="190"/>
                    <a:pt x="0" y="190"/>
                    <a:pt x="0" y="281"/>
                  </a:cubicBezTo>
                  <a:cubicBezTo>
                    <a:pt x="0" y="294"/>
                    <a:pt x="10" y="305"/>
                    <a:pt x="23" y="305"/>
                  </a:cubicBezTo>
                  <a:cubicBezTo>
                    <a:pt x="23" y="305"/>
                    <a:pt x="23" y="305"/>
                    <a:pt x="33" y="305"/>
                  </a:cubicBezTo>
                  <a:cubicBezTo>
                    <a:pt x="36" y="305"/>
                    <a:pt x="39" y="302"/>
                    <a:pt x="40" y="299"/>
                  </a:cubicBezTo>
                  <a:cubicBezTo>
                    <a:pt x="47" y="275"/>
                    <a:pt x="69" y="259"/>
                    <a:pt x="94" y="259"/>
                  </a:cubicBezTo>
                  <a:cubicBezTo>
                    <a:pt x="118" y="259"/>
                    <a:pt x="140" y="275"/>
                    <a:pt x="147" y="299"/>
                  </a:cubicBezTo>
                  <a:cubicBezTo>
                    <a:pt x="148" y="302"/>
                    <a:pt x="151" y="305"/>
                    <a:pt x="155" y="305"/>
                  </a:cubicBezTo>
                  <a:cubicBezTo>
                    <a:pt x="155" y="305"/>
                    <a:pt x="155" y="305"/>
                    <a:pt x="231" y="305"/>
                  </a:cubicBezTo>
                  <a:cubicBezTo>
                    <a:pt x="234" y="305"/>
                    <a:pt x="237" y="302"/>
                    <a:pt x="238" y="299"/>
                  </a:cubicBezTo>
                  <a:cubicBezTo>
                    <a:pt x="245" y="275"/>
                    <a:pt x="267" y="259"/>
                    <a:pt x="292" y="259"/>
                  </a:cubicBezTo>
                  <a:cubicBezTo>
                    <a:pt x="316" y="259"/>
                    <a:pt x="338" y="275"/>
                    <a:pt x="345" y="299"/>
                  </a:cubicBezTo>
                  <a:cubicBezTo>
                    <a:pt x="346" y="302"/>
                    <a:pt x="349" y="305"/>
                    <a:pt x="353" y="305"/>
                  </a:cubicBezTo>
                  <a:cubicBezTo>
                    <a:pt x="353" y="305"/>
                    <a:pt x="353" y="305"/>
                    <a:pt x="362" y="305"/>
                  </a:cubicBezTo>
                  <a:cubicBezTo>
                    <a:pt x="375" y="305"/>
                    <a:pt x="386" y="294"/>
                    <a:pt x="386" y="281"/>
                  </a:cubicBezTo>
                  <a:cubicBezTo>
                    <a:pt x="386" y="281"/>
                    <a:pt x="386" y="281"/>
                    <a:pt x="386" y="234"/>
                  </a:cubicBezTo>
                  <a:cubicBezTo>
                    <a:pt x="386" y="217"/>
                    <a:pt x="380" y="200"/>
                    <a:pt x="370" y="186"/>
                  </a:cubicBezTo>
                  <a:cubicBezTo>
                    <a:pt x="370" y="186"/>
                    <a:pt x="370" y="186"/>
                    <a:pt x="340" y="144"/>
                  </a:cubicBezTo>
                  <a:close/>
                  <a:moveTo>
                    <a:pt x="15" y="24"/>
                  </a:moveTo>
                  <a:cubicBezTo>
                    <a:pt x="15" y="19"/>
                    <a:pt x="19" y="16"/>
                    <a:pt x="23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5" y="16"/>
                    <a:pt x="239" y="19"/>
                    <a:pt x="239" y="24"/>
                  </a:cubicBezTo>
                  <a:cubicBezTo>
                    <a:pt x="239" y="24"/>
                    <a:pt x="239" y="24"/>
                    <a:pt x="239" y="188"/>
                  </a:cubicBezTo>
                  <a:cubicBezTo>
                    <a:pt x="239" y="192"/>
                    <a:pt x="235" y="196"/>
                    <a:pt x="231" y="196"/>
                  </a:cubicBezTo>
                  <a:cubicBezTo>
                    <a:pt x="231" y="196"/>
                    <a:pt x="231" y="196"/>
                    <a:pt x="23" y="196"/>
                  </a:cubicBezTo>
                  <a:cubicBezTo>
                    <a:pt x="19" y="196"/>
                    <a:pt x="15" y="192"/>
                    <a:pt x="15" y="188"/>
                  </a:cubicBezTo>
                  <a:cubicBezTo>
                    <a:pt x="15" y="188"/>
                    <a:pt x="15" y="188"/>
                    <a:pt x="15" y="24"/>
                  </a:cubicBezTo>
                  <a:close/>
                  <a:moveTo>
                    <a:pt x="370" y="281"/>
                  </a:moveTo>
                  <a:cubicBezTo>
                    <a:pt x="370" y="285"/>
                    <a:pt x="366" y="289"/>
                    <a:pt x="362" y="289"/>
                  </a:cubicBezTo>
                  <a:cubicBezTo>
                    <a:pt x="362" y="289"/>
                    <a:pt x="362" y="289"/>
                    <a:pt x="358" y="289"/>
                  </a:cubicBezTo>
                  <a:cubicBezTo>
                    <a:pt x="348" y="261"/>
                    <a:pt x="321" y="243"/>
                    <a:pt x="292" y="243"/>
                  </a:cubicBezTo>
                  <a:cubicBezTo>
                    <a:pt x="262" y="243"/>
                    <a:pt x="235" y="261"/>
                    <a:pt x="225" y="289"/>
                  </a:cubicBezTo>
                  <a:cubicBezTo>
                    <a:pt x="225" y="289"/>
                    <a:pt x="225" y="289"/>
                    <a:pt x="160" y="289"/>
                  </a:cubicBezTo>
                  <a:cubicBezTo>
                    <a:pt x="150" y="261"/>
                    <a:pt x="123" y="243"/>
                    <a:pt x="94" y="243"/>
                  </a:cubicBezTo>
                  <a:cubicBezTo>
                    <a:pt x="64" y="243"/>
                    <a:pt x="37" y="261"/>
                    <a:pt x="27" y="289"/>
                  </a:cubicBezTo>
                  <a:cubicBezTo>
                    <a:pt x="27" y="289"/>
                    <a:pt x="27" y="289"/>
                    <a:pt x="23" y="289"/>
                  </a:cubicBezTo>
                  <a:cubicBezTo>
                    <a:pt x="19" y="289"/>
                    <a:pt x="15" y="285"/>
                    <a:pt x="15" y="281"/>
                  </a:cubicBezTo>
                  <a:cubicBezTo>
                    <a:pt x="15" y="281"/>
                    <a:pt x="15" y="281"/>
                    <a:pt x="15" y="212"/>
                  </a:cubicBezTo>
                  <a:cubicBezTo>
                    <a:pt x="18" y="213"/>
                    <a:pt x="21" y="213"/>
                    <a:pt x="23" y="213"/>
                  </a:cubicBezTo>
                  <a:cubicBezTo>
                    <a:pt x="23" y="213"/>
                    <a:pt x="23" y="213"/>
                    <a:pt x="231" y="213"/>
                  </a:cubicBezTo>
                  <a:cubicBezTo>
                    <a:pt x="244" y="213"/>
                    <a:pt x="255" y="203"/>
                    <a:pt x="255" y="190"/>
                  </a:cubicBezTo>
                  <a:cubicBezTo>
                    <a:pt x="255" y="190"/>
                    <a:pt x="255" y="190"/>
                    <a:pt x="255" y="142"/>
                  </a:cubicBezTo>
                  <a:cubicBezTo>
                    <a:pt x="255" y="142"/>
                    <a:pt x="255" y="142"/>
                    <a:pt x="305" y="141"/>
                  </a:cubicBezTo>
                  <a:cubicBezTo>
                    <a:pt x="311" y="141"/>
                    <a:pt x="324" y="148"/>
                    <a:pt x="328" y="154"/>
                  </a:cubicBezTo>
                  <a:cubicBezTo>
                    <a:pt x="328" y="154"/>
                    <a:pt x="328" y="154"/>
                    <a:pt x="357" y="195"/>
                  </a:cubicBezTo>
                  <a:cubicBezTo>
                    <a:pt x="365" y="206"/>
                    <a:pt x="370" y="220"/>
                    <a:pt x="370" y="234"/>
                  </a:cubicBezTo>
                  <a:cubicBezTo>
                    <a:pt x="370" y="234"/>
                    <a:pt x="370" y="234"/>
                    <a:pt x="370" y="281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69">
              <a:extLst>
                <a:ext uri="{FF2B5EF4-FFF2-40B4-BE49-F238E27FC236}">
                  <a16:creationId xmlns:a16="http://schemas.microsoft.com/office/drawing/2014/main" id="{B8C81C3B-92D5-274E-B599-86641901C1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07625" y="6126163"/>
              <a:ext cx="187325" cy="185738"/>
            </a:xfrm>
            <a:custGeom>
              <a:avLst/>
              <a:gdLst>
                <a:gd name="T0" fmla="*/ 41 w 81"/>
                <a:gd name="T1" fmla="*/ 0 h 81"/>
                <a:gd name="T2" fmla="*/ 0 w 81"/>
                <a:gd name="T3" fmla="*/ 40 h 81"/>
                <a:gd name="T4" fmla="*/ 41 w 81"/>
                <a:gd name="T5" fmla="*/ 81 h 81"/>
                <a:gd name="T6" fmla="*/ 81 w 81"/>
                <a:gd name="T7" fmla="*/ 40 h 81"/>
                <a:gd name="T8" fmla="*/ 41 w 81"/>
                <a:gd name="T9" fmla="*/ 0 h 81"/>
                <a:gd name="T10" fmla="*/ 41 w 81"/>
                <a:gd name="T11" fmla="*/ 65 h 81"/>
                <a:gd name="T12" fmla="*/ 16 w 81"/>
                <a:gd name="T13" fmla="*/ 40 h 81"/>
                <a:gd name="T14" fmla="*/ 41 w 81"/>
                <a:gd name="T15" fmla="*/ 15 h 81"/>
                <a:gd name="T16" fmla="*/ 66 w 81"/>
                <a:gd name="T17" fmla="*/ 40 h 81"/>
                <a:gd name="T18" fmla="*/ 41 w 81"/>
                <a:gd name="T19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3"/>
                    <a:pt x="18" y="81"/>
                    <a:pt x="41" y="81"/>
                  </a:cubicBezTo>
                  <a:cubicBezTo>
                    <a:pt x="63" y="81"/>
                    <a:pt x="81" y="63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lose/>
                  <a:moveTo>
                    <a:pt x="41" y="65"/>
                  </a:moveTo>
                  <a:cubicBezTo>
                    <a:pt x="27" y="65"/>
                    <a:pt x="16" y="54"/>
                    <a:pt x="16" y="40"/>
                  </a:cubicBezTo>
                  <a:cubicBezTo>
                    <a:pt x="16" y="27"/>
                    <a:pt x="27" y="15"/>
                    <a:pt x="41" y="15"/>
                  </a:cubicBezTo>
                  <a:cubicBezTo>
                    <a:pt x="54" y="15"/>
                    <a:pt x="66" y="27"/>
                    <a:pt x="66" y="40"/>
                  </a:cubicBezTo>
                  <a:cubicBezTo>
                    <a:pt x="66" y="54"/>
                    <a:pt x="54" y="65"/>
                    <a:pt x="41" y="65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70">
              <a:extLst>
                <a:ext uri="{FF2B5EF4-FFF2-40B4-BE49-F238E27FC236}">
                  <a16:creationId xmlns:a16="http://schemas.microsoft.com/office/drawing/2014/main" id="{95E005F5-892D-5140-B3BA-389A63BA11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3600" y="6126163"/>
              <a:ext cx="185738" cy="185738"/>
            </a:xfrm>
            <a:custGeom>
              <a:avLst/>
              <a:gdLst>
                <a:gd name="T0" fmla="*/ 41 w 81"/>
                <a:gd name="T1" fmla="*/ 0 h 81"/>
                <a:gd name="T2" fmla="*/ 0 w 81"/>
                <a:gd name="T3" fmla="*/ 40 h 81"/>
                <a:gd name="T4" fmla="*/ 41 w 81"/>
                <a:gd name="T5" fmla="*/ 81 h 81"/>
                <a:gd name="T6" fmla="*/ 81 w 81"/>
                <a:gd name="T7" fmla="*/ 40 h 81"/>
                <a:gd name="T8" fmla="*/ 41 w 81"/>
                <a:gd name="T9" fmla="*/ 0 h 81"/>
                <a:gd name="T10" fmla="*/ 41 w 81"/>
                <a:gd name="T11" fmla="*/ 65 h 81"/>
                <a:gd name="T12" fmla="*/ 16 w 81"/>
                <a:gd name="T13" fmla="*/ 40 h 81"/>
                <a:gd name="T14" fmla="*/ 41 w 81"/>
                <a:gd name="T15" fmla="*/ 15 h 81"/>
                <a:gd name="T16" fmla="*/ 65 w 81"/>
                <a:gd name="T17" fmla="*/ 40 h 81"/>
                <a:gd name="T18" fmla="*/ 41 w 81"/>
                <a:gd name="T19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3"/>
                    <a:pt x="18" y="81"/>
                    <a:pt x="41" y="81"/>
                  </a:cubicBezTo>
                  <a:cubicBezTo>
                    <a:pt x="63" y="81"/>
                    <a:pt x="81" y="63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lose/>
                  <a:moveTo>
                    <a:pt x="41" y="65"/>
                  </a:moveTo>
                  <a:cubicBezTo>
                    <a:pt x="27" y="65"/>
                    <a:pt x="16" y="54"/>
                    <a:pt x="16" y="40"/>
                  </a:cubicBezTo>
                  <a:cubicBezTo>
                    <a:pt x="16" y="27"/>
                    <a:pt x="27" y="15"/>
                    <a:pt x="41" y="15"/>
                  </a:cubicBezTo>
                  <a:cubicBezTo>
                    <a:pt x="54" y="15"/>
                    <a:pt x="65" y="27"/>
                    <a:pt x="65" y="40"/>
                  </a:cubicBezTo>
                  <a:cubicBezTo>
                    <a:pt x="65" y="54"/>
                    <a:pt x="54" y="65"/>
                    <a:pt x="41" y="65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48" name="Smart product"/>
          <p:cNvSpPr txBox="1"/>
          <p:nvPr/>
        </p:nvSpPr>
        <p:spPr>
          <a:xfrm>
            <a:off x="3091165" y="5076043"/>
            <a:ext cx="1487908" cy="307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2800" b="1">
                <a:solidFill>
                  <a:srgbClr val="53585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pPr marL="0" marR="0" lvl="0" indent="0" algn="ctr" defTabSz="1828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Smart product</a:t>
            </a:r>
          </a:p>
        </p:txBody>
      </p:sp>
      <p:grpSp>
        <p:nvGrpSpPr>
          <p:cNvPr id="66" name="Grupp 65">
            <a:extLst>
              <a:ext uri="{FF2B5EF4-FFF2-40B4-BE49-F238E27FC236}">
                <a16:creationId xmlns:a16="http://schemas.microsoft.com/office/drawing/2014/main" id="{5B193EB6-DD45-9443-95D6-2FBD14C150CC}"/>
              </a:ext>
            </a:extLst>
          </p:cNvPr>
          <p:cNvGrpSpPr/>
          <p:nvPr/>
        </p:nvGrpSpPr>
        <p:grpSpPr>
          <a:xfrm>
            <a:off x="3523032" y="3924694"/>
            <a:ext cx="674024" cy="623382"/>
            <a:chOff x="9631363" y="5491163"/>
            <a:chExt cx="887413" cy="820738"/>
          </a:xfrm>
        </p:grpSpPr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67A220B2-297A-F24E-8AB5-FA1F396F92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1363" y="5491163"/>
              <a:ext cx="887413" cy="700088"/>
            </a:xfrm>
            <a:custGeom>
              <a:avLst/>
              <a:gdLst>
                <a:gd name="T0" fmla="*/ 340 w 386"/>
                <a:gd name="T1" fmla="*/ 144 h 305"/>
                <a:gd name="T2" fmla="*/ 305 w 386"/>
                <a:gd name="T3" fmla="*/ 125 h 305"/>
                <a:gd name="T4" fmla="*/ 255 w 386"/>
                <a:gd name="T5" fmla="*/ 126 h 305"/>
                <a:gd name="T6" fmla="*/ 255 w 386"/>
                <a:gd name="T7" fmla="*/ 24 h 305"/>
                <a:gd name="T8" fmla="*/ 231 w 386"/>
                <a:gd name="T9" fmla="*/ 0 h 305"/>
                <a:gd name="T10" fmla="*/ 23 w 386"/>
                <a:gd name="T11" fmla="*/ 0 h 305"/>
                <a:gd name="T12" fmla="*/ 0 w 386"/>
                <a:gd name="T13" fmla="*/ 24 h 305"/>
                <a:gd name="T14" fmla="*/ 0 w 386"/>
                <a:gd name="T15" fmla="*/ 188 h 305"/>
                <a:gd name="T16" fmla="*/ 0 w 386"/>
                <a:gd name="T17" fmla="*/ 189 h 305"/>
                <a:gd name="T18" fmla="*/ 0 w 386"/>
                <a:gd name="T19" fmla="*/ 190 h 305"/>
                <a:gd name="T20" fmla="*/ 0 w 386"/>
                <a:gd name="T21" fmla="*/ 281 h 305"/>
                <a:gd name="T22" fmla="*/ 23 w 386"/>
                <a:gd name="T23" fmla="*/ 305 h 305"/>
                <a:gd name="T24" fmla="*/ 33 w 386"/>
                <a:gd name="T25" fmla="*/ 305 h 305"/>
                <a:gd name="T26" fmla="*/ 40 w 386"/>
                <a:gd name="T27" fmla="*/ 299 h 305"/>
                <a:gd name="T28" fmla="*/ 94 w 386"/>
                <a:gd name="T29" fmla="*/ 259 h 305"/>
                <a:gd name="T30" fmla="*/ 147 w 386"/>
                <a:gd name="T31" fmla="*/ 299 h 305"/>
                <a:gd name="T32" fmla="*/ 155 w 386"/>
                <a:gd name="T33" fmla="*/ 305 h 305"/>
                <a:gd name="T34" fmla="*/ 231 w 386"/>
                <a:gd name="T35" fmla="*/ 305 h 305"/>
                <a:gd name="T36" fmla="*/ 238 w 386"/>
                <a:gd name="T37" fmla="*/ 299 h 305"/>
                <a:gd name="T38" fmla="*/ 292 w 386"/>
                <a:gd name="T39" fmla="*/ 259 h 305"/>
                <a:gd name="T40" fmla="*/ 345 w 386"/>
                <a:gd name="T41" fmla="*/ 299 h 305"/>
                <a:gd name="T42" fmla="*/ 353 w 386"/>
                <a:gd name="T43" fmla="*/ 305 h 305"/>
                <a:gd name="T44" fmla="*/ 362 w 386"/>
                <a:gd name="T45" fmla="*/ 305 h 305"/>
                <a:gd name="T46" fmla="*/ 386 w 386"/>
                <a:gd name="T47" fmla="*/ 281 h 305"/>
                <a:gd name="T48" fmla="*/ 386 w 386"/>
                <a:gd name="T49" fmla="*/ 234 h 305"/>
                <a:gd name="T50" fmla="*/ 370 w 386"/>
                <a:gd name="T51" fmla="*/ 186 h 305"/>
                <a:gd name="T52" fmla="*/ 340 w 386"/>
                <a:gd name="T53" fmla="*/ 144 h 305"/>
                <a:gd name="T54" fmla="*/ 15 w 386"/>
                <a:gd name="T55" fmla="*/ 24 h 305"/>
                <a:gd name="T56" fmla="*/ 23 w 386"/>
                <a:gd name="T57" fmla="*/ 16 h 305"/>
                <a:gd name="T58" fmla="*/ 231 w 386"/>
                <a:gd name="T59" fmla="*/ 16 h 305"/>
                <a:gd name="T60" fmla="*/ 239 w 386"/>
                <a:gd name="T61" fmla="*/ 24 h 305"/>
                <a:gd name="T62" fmla="*/ 239 w 386"/>
                <a:gd name="T63" fmla="*/ 188 h 305"/>
                <a:gd name="T64" fmla="*/ 231 w 386"/>
                <a:gd name="T65" fmla="*/ 196 h 305"/>
                <a:gd name="T66" fmla="*/ 23 w 386"/>
                <a:gd name="T67" fmla="*/ 196 h 305"/>
                <a:gd name="T68" fmla="*/ 15 w 386"/>
                <a:gd name="T69" fmla="*/ 188 h 305"/>
                <a:gd name="T70" fmla="*/ 15 w 386"/>
                <a:gd name="T71" fmla="*/ 24 h 305"/>
                <a:gd name="T72" fmla="*/ 370 w 386"/>
                <a:gd name="T73" fmla="*/ 281 h 305"/>
                <a:gd name="T74" fmla="*/ 362 w 386"/>
                <a:gd name="T75" fmla="*/ 289 h 305"/>
                <a:gd name="T76" fmla="*/ 358 w 386"/>
                <a:gd name="T77" fmla="*/ 289 h 305"/>
                <a:gd name="T78" fmla="*/ 292 w 386"/>
                <a:gd name="T79" fmla="*/ 243 h 305"/>
                <a:gd name="T80" fmla="*/ 225 w 386"/>
                <a:gd name="T81" fmla="*/ 289 h 305"/>
                <a:gd name="T82" fmla="*/ 160 w 386"/>
                <a:gd name="T83" fmla="*/ 289 h 305"/>
                <a:gd name="T84" fmla="*/ 94 w 386"/>
                <a:gd name="T85" fmla="*/ 243 h 305"/>
                <a:gd name="T86" fmla="*/ 27 w 386"/>
                <a:gd name="T87" fmla="*/ 289 h 305"/>
                <a:gd name="T88" fmla="*/ 23 w 386"/>
                <a:gd name="T89" fmla="*/ 289 h 305"/>
                <a:gd name="T90" fmla="*/ 15 w 386"/>
                <a:gd name="T91" fmla="*/ 281 h 305"/>
                <a:gd name="T92" fmla="*/ 15 w 386"/>
                <a:gd name="T93" fmla="*/ 212 h 305"/>
                <a:gd name="T94" fmla="*/ 23 w 386"/>
                <a:gd name="T95" fmla="*/ 213 h 305"/>
                <a:gd name="T96" fmla="*/ 231 w 386"/>
                <a:gd name="T97" fmla="*/ 213 h 305"/>
                <a:gd name="T98" fmla="*/ 255 w 386"/>
                <a:gd name="T99" fmla="*/ 190 h 305"/>
                <a:gd name="T100" fmla="*/ 255 w 386"/>
                <a:gd name="T101" fmla="*/ 142 h 305"/>
                <a:gd name="T102" fmla="*/ 305 w 386"/>
                <a:gd name="T103" fmla="*/ 141 h 305"/>
                <a:gd name="T104" fmla="*/ 328 w 386"/>
                <a:gd name="T105" fmla="*/ 154 h 305"/>
                <a:gd name="T106" fmla="*/ 357 w 386"/>
                <a:gd name="T107" fmla="*/ 195 h 305"/>
                <a:gd name="T108" fmla="*/ 370 w 386"/>
                <a:gd name="T109" fmla="*/ 234 h 305"/>
                <a:gd name="T110" fmla="*/ 370 w 386"/>
                <a:gd name="T111" fmla="*/ 28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6" h="305">
                  <a:moveTo>
                    <a:pt x="340" y="144"/>
                  </a:moveTo>
                  <a:cubicBezTo>
                    <a:pt x="334" y="136"/>
                    <a:pt x="317" y="125"/>
                    <a:pt x="305" y="125"/>
                  </a:cubicBezTo>
                  <a:cubicBezTo>
                    <a:pt x="305" y="125"/>
                    <a:pt x="305" y="125"/>
                    <a:pt x="255" y="126"/>
                  </a:cubicBezTo>
                  <a:cubicBezTo>
                    <a:pt x="255" y="126"/>
                    <a:pt x="255" y="126"/>
                    <a:pt x="255" y="24"/>
                  </a:cubicBezTo>
                  <a:cubicBezTo>
                    <a:pt x="255" y="11"/>
                    <a:pt x="244" y="0"/>
                    <a:pt x="231" y="0"/>
                  </a:cubicBezTo>
                  <a:cubicBezTo>
                    <a:pt x="231" y="0"/>
                    <a:pt x="231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24"/>
                    <a:pt x="0" y="24"/>
                    <a:pt x="0" y="188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0" y="189"/>
                    <a:pt x="0" y="190"/>
                  </a:cubicBezTo>
                  <a:cubicBezTo>
                    <a:pt x="0" y="190"/>
                    <a:pt x="0" y="190"/>
                    <a:pt x="0" y="281"/>
                  </a:cubicBezTo>
                  <a:cubicBezTo>
                    <a:pt x="0" y="294"/>
                    <a:pt x="10" y="305"/>
                    <a:pt x="23" y="305"/>
                  </a:cubicBezTo>
                  <a:cubicBezTo>
                    <a:pt x="23" y="305"/>
                    <a:pt x="23" y="305"/>
                    <a:pt x="33" y="305"/>
                  </a:cubicBezTo>
                  <a:cubicBezTo>
                    <a:pt x="36" y="305"/>
                    <a:pt x="39" y="302"/>
                    <a:pt x="40" y="299"/>
                  </a:cubicBezTo>
                  <a:cubicBezTo>
                    <a:pt x="47" y="275"/>
                    <a:pt x="69" y="259"/>
                    <a:pt x="94" y="259"/>
                  </a:cubicBezTo>
                  <a:cubicBezTo>
                    <a:pt x="118" y="259"/>
                    <a:pt x="140" y="275"/>
                    <a:pt x="147" y="299"/>
                  </a:cubicBezTo>
                  <a:cubicBezTo>
                    <a:pt x="148" y="302"/>
                    <a:pt x="151" y="305"/>
                    <a:pt x="155" y="305"/>
                  </a:cubicBezTo>
                  <a:cubicBezTo>
                    <a:pt x="155" y="305"/>
                    <a:pt x="155" y="305"/>
                    <a:pt x="231" y="305"/>
                  </a:cubicBezTo>
                  <a:cubicBezTo>
                    <a:pt x="234" y="305"/>
                    <a:pt x="237" y="302"/>
                    <a:pt x="238" y="299"/>
                  </a:cubicBezTo>
                  <a:cubicBezTo>
                    <a:pt x="245" y="275"/>
                    <a:pt x="267" y="259"/>
                    <a:pt x="292" y="259"/>
                  </a:cubicBezTo>
                  <a:cubicBezTo>
                    <a:pt x="316" y="259"/>
                    <a:pt x="338" y="275"/>
                    <a:pt x="345" y="299"/>
                  </a:cubicBezTo>
                  <a:cubicBezTo>
                    <a:pt x="346" y="302"/>
                    <a:pt x="349" y="305"/>
                    <a:pt x="353" y="305"/>
                  </a:cubicBezTo>
                  <a:cubicBezTo>
                    <a:pt x="353" y="305"/>
                    <a:pt x="353" y="305"/>
                    <a:pt x="362" y="305"/>
                  </a:cubicBezTo>
                  <a:cubicBezTo>
                    <a:pt x="375" y="305"/>
                    <a:pt x="386" y="294"/>
                    <a:pt x="386" y="281"/>
                  </a:cubicBezTo>
                  <a:cubicBezTo>
                    <a:pt x="386" y="281"/>
                    <a:pt x="386" y="281"/>
                    <a:pt x="386" y="234"/>
                  </a:cubicBezTo>
                  <a:cubicBezTo>
                    <a:pt x="386" y="217"/>
                    <a:pt x="380" y="200"/>
                    <a:pt x="370" y="186"/>
                  </a:cubicBezTo>
                  <a:cubicBezTo>
                    <a:pt x="370" y="186"/>
                    <a:pt x="370" y="186"/>
                    <a:pt x="340" y="144"/>
                  </a:cubicBezTo>
                  <a:close/>
                  <a:moveTo>
                    <a:pt x="15" y="24"/>
                  </a:moveTo>
                  <a:cubicBezTo>
                    <a:pt x="15" y="19"/>
                    <a:pt x="19" y="16"/>
                    <a:pt x="23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5" y="16"/>
                    <a:pt x="239" y="19"/>
                    <a:pt x="239" y="24"/>
                  </a:cubicBezTo>
                  <a:cubicBezTo>
                    <a:pt x="239" y="24"/>
                    <a:pt x="239" y="24"/>
                    <a:pt x="239" y="188"/>
                  </a:cubicBezTo>
                  <a:cubicBezTo>
                    <a:pt x="239" y="192"/>
                    <a:pt x="235" y="196"/>
                    <a:pt x="231" y="196"/>
                  </a:cubicBezTo>
                  <a:cubicBezTo>
                    <a:pt x="231" y="196"/>
                    <a:pt x="231" y="196"/>
                    <a:pt x="23" y="196"/>
                  </a:cubicBezTo>
                  <a:cubicBezTo>
                    <a:pt x="19" y="196"/>
                    <a:pt x="15" y="192"/>
                    <a:pt x="15" y="188"/>
                  </a:cubicBezTo>
                  <a:cubicBezTo>
                    <a:pt x="15" y="188"/>
                    <a:pt x="15" y="188"/>
                    <a:pt x="15" y="24"/>
                  </a:cubicBezTo>
                  <a:close/>
                  <a:moveTo>
                    <a:pt x="370" y="281"/>
                  </a:moveTo>
                  <a:cubicBezTo>
                    <a:pt x="370" y="285"/>
                    <a:pt x="366" y="289"/>
                    <a:pt x="362" y="289"/>
                  </a:cubicBezTo>
                  <a:cubicBezTo>
                    <a:pt x="362" y="289"/>
                    <a:pt x="362" y="289"/>
                    <a:pt x="358" y="289"/>
                  </a:cubicBezTo>
                  <a:cubicBezTo>
                    <a:pt x="348" y="261"/>
                    <a:pt x="321" y="243"/>
                    <a:pt x="292" y="243"/>
                  </a:cubicBezTo>
                  <a:cubicBezTo>
                    <a:pt x="262" y="243"/>
                    <a:pt x="235" y="261"/>
                    <a:pt x="225" y="289"/>
                  </a:cubicBezTo>
                  <a:cubicBezTo>
                    <a:pt x="225" y="289"/>
                    <a:pt x="225" y="289"/>
                    <a:pt x="160" y="289"/>
                  </a:cubicBezTo>
                  <a:cubicBezTo>
                    <a:pt x="150" y="261"/>
                    <a:pt x="123" y="243"/>
                    <a:pt x="94" y="243"/>
                  </a:cubicBezTo>
                  <a:cubicBezTo>
                    <a:pt x="64" y="243"/>
                    <a:pt x="37" y="261"/>
                    <a:pt x="27" y="289"/>
                  </a:cubicBezTo>
                  <a:cubicBezTo>
                    <a:pt x="27" y="289"/>
                    <a:pt x="27" y="289"/>
                    <a:pt x="23" y="289"/>
                  </a:cubicBezTo>
                  <a:cubicBezTo>
                    <a:pt x="19" y="289"/>
                    <a:pt x="15" y="285"/>
                    <a:pt x="15" y="281"/>
                  </a:cubicBezTo>
                  <a:cubicBezTo>
                    <a:pt x="15" y="281"/>
                    <a:pt x="15" y="281"/>
                    <a:pt x="15" y="212"/>
                  </a:cubicBezTo>
                  <a:cubicBezTo>
                    <a:pt x="18" y="213"/>
                    <a:pt x="21" y="213"/>
                    <a:pt x="23" y="213"/>
                  </a:cubicBezTo>
                  <a:cubicBezTo>
                    <a:pt x="23" y="213"/>
                    <a:pt x="23" y="213"/>
                    <a:pt x="231" y="213"/>
                  </a:cubicBezTo>
                  <a:cubicBezTo>
                    <a:pt x="244" y="213"/>
                    <a:pt x="255" y="203"/>
                    <a:pt x="255" y="190"/>
                  </a:cubicBezTo>
                  <a:cubicBezTo>
                    <a:pt x="255" y="190"/>
                    <a:pt x="255" y="190"/>
                    <a:pt x="255" y="142"/>
                  </a:cubicBezTo>
                  <a:cubicBezTo>
                    <a:pt x="255" y="142"/>
                    <a:pt x="255" y="142"/>
                    <a:pt x="305" y="141"/>
                  </a:cubicBezTo>
                  <a:cubicBezTo>
                    <a:pt x="311" y="141"/>
                    <a:pt x="324" y="148"/>
                    <a:pt x="328" y="154"/>
                  </a:cubicBezTo>
                  <a:cubicBezTo>
                    <a:pt x="328" y="154"/>
                    <a:pt x="328" y="154"/>
                    <a:pt x="357" y="195"/>
                  </a:cubicBezTo>
                  <a:cubicBezTo>
                    <a:pt x="365" y="206"/>
                    <a:pt x="370" y="220"/>
                    <a:pt x="370" y="234"/>
                  </a:cubicBezTo>
                  <a:cubicBezTo>
                    <a:pt x="370" y="234"/>
                    <a:pt x="370" y="234"/>
                    <a:pt x="370" y="281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EAA24D34-8929-DD41-B324-34DDA22246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07625" y="6126163"/>
              <a:ext cx="187325" cy="185738"/>
            </a:xfrm>
            <a:custGeom>
              <a:avLst/>
              <a:gdLst>
                <a:gd name="T0" fmla="*/ 41 w 81"/>
                <a:gd name="T1" fmla="*/ 0 h 81"/>
                <a:gd name="T2" fmla="*/ 0 w 81"/>
                <a:gd name="T3" fmla="*/ 40 h 81"/>
                <a:gd name="T4" fmla="*/ 41 w 81"/>
                <a:gd name="T5" fmla="*/ 81 h 81"/>
                <a:gd name="T6" fmla="*/ 81 w 81"/>
                <a:gd name="T7" fmla="*/ 40 h 81"/>
                <a:gd name="T8" fmla="*/ 41 w 81"/>
                <a:gd name="T9" fmla="*/ 0 h 81"/>
                <a:gd name="T10" fmla="*/ 41 w 81"/>
                <a:gd name="T11" fmla="*/ 65 h 81"/>
                <a:gd name="T12" fmla="*/ 16 w 81"/>
                <a:gd name="T13" fmla="*/ 40 h 81"/>
                <a:gd name="T14" fmla="*/ 41 w 81"/>
                <a:gd name="T15" fmla="*/ 15 h 81"/>
                <a:gd name="T16" fmla="*/ 66 w 81"/>
                <a:gd name="T17" fmla="*/ 40 h 81"/>
                <a:gd name="T18" fmla="*/ 41 w 81"/>
                <a:gd name="T19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3"/>
                    <a:pt x="18" y="81"/>
                    <a:pt x="41" y="81"/>
                  </a:cubicBezTo>
                  <a:cubicBezTo>
                    <a:pt x="63" y="81"/>
                    <a:pt x="81" y="63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lose/>
                  <a:moveTo>
                    <a:pt x="41" y="65"/>
                  </a:moveTo>
                  <a:cubicBezTo>
                    <a:pt x="27" y="65"/>
                    <a:pt x="16" y="54"/>
                    <a:pt x="16" y="40"/>
                  </a:cubicBezTo>
                  <a:cubicBezTo>
                    <a:pt x="16" y="27"/>
                    <a:pt x="27" y="15"/>
                    <a:pt x="41" y="15"/>
                  </a:cubicBezTo>
                  <a:cubicBezTo>
                    <a:pt x="54" y="15"/>
                    <a:pt x="66" y="27"/>
                    <a:pt x="66" y="40"/>
                  </a:cubicBezTo>
                  <a:cubicBezTo>
                    <a:pt x="66" y="54"/>
                    <a:pt x="54" y="65"/>
                    <a:pt x="41" y="65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03C74F80-0189-3E49-BFDE-508EB21CE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3600" y="6126163"/>
              <a:ext cx="185738" cy="185738"/>
            </a:xfrm>
            <a:custGeom>
              <a:avLst/>
              <a:gdLst>
                <a:gd name="T0" fmla="*/ 41 w 81"/>
                <a:gd name="T1" fmla="*/ 0 h 81"/>
                <a:gd name="T2" fmla="*/ 0 w 81"/>
                <a:gd name="T3" fmla="*/ 40 h 81"/>
                <a:gd name="T4" fmla="*/ 41 w 81"/>
                <a:gd name="T5" fmla="*/ 81 h 81"/>
                <a:gd name="T6" fmla="*/ 81 w 81"/>
                <a:gd name="T7" fmla="*/ 40 h 81"/>
                <a:gd name="T8" fmla="*/ 41 w 81"/>
                <a:gd name="T9" fmla="*/ 0 h 81"/>
                <a:gd name="T10" fmla="*/ 41 w 81"/>
                <a:gd name="T11" fmla="*/ 65 h 81"/>
                <a:gd name="T12" fmla="*/ 16 w 81"/>
                <a:gd name="T13" fmla="*/ 40 h 81"/>
                <a:gd name="T14" fmla="*/ 41 w 81"/>
                <a:gd name="T15" fmla="*/ 15 h 81"/>
                <a:gd name="T16" fmla="*/ 65 w 81"/>
                <a:gd name="T17" fmla="*/ 40 h 81"/>
                <a:gd name="T18" fmla="*/ 41 w 81"/>
                <a:gd name="T19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3"/>
                    <a:pt x="18" y="81"/>
                    <a:pt x="41" y="81"/>
                  </a:cubicBezTo>
                  <a:cubicBezTo>
                    <a:pt x="63" y="81"/>
                    <a:pt x="81" y="63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lose/>
                  <a:moveTo>
                    <a:pt x="41" y="65"/>
                  </a:moveTo>
                  <a:cubicBezTo>
                    <a:pt x="27" y="65"/>
                    <a:pt x="16" y="54"/>
                    <a:pt x="16" y="40"/>
                  </a:cubicBezTo>
                  <a:cubicBezTo>
                    <a:pt x="16" y="27"/>
                    <a:pt x="27" y="15"/>
                    <a:pt x="41" y="15"/>
                  </a:cubicBezTo>
                  <a:cubicBezTo>
                    <a:pt x="54" y="15"/>
                    <a:pt x="65" y="27"/>
                    <a:pt x="65" y="40"/>
                  </a:cubicBezTo>
                  <a:cubicBezTo>
                    <a:pt x="65" y="54"/>
                    <a:pt x="54" y="65"/>
                    <a:pt x="41" y="65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" name="Grupp 1">
            <a:extLst>
              <a:ext uri="{FF2B5EF4-FFF2-40B4-BE49-F238E27FC236}">
                <a16:creationId xmlns:a16="http://schemas.microsoft.com/office/drawing/2014/main" id="{C8A13F8B-8B87-3D48-9D47-F44A30E011D6}"/>
              </a:ext>
            </a:extLst>
          </p:cNvPr>
          <p:cNvGrpSpPr/>
          <p:nvPr/>
        </p:nvGrpSpPr>
        <p:grpSpPr>
          <a:xfrm>
            <a:off x="3415660" y="2763228"/>
            <a:ext cx="825151" cy="722718"/>
            <a:chOff x="3415660" y="2763228"/>
            <a:chExt cx="825151" cy="722718"/>
          </a:xfrm>
        </p:grpSpPr>
        <p:sp>
          <p:nvSpPr>
            <p:cNvPr id="89" name="Freeform 78">
              <a:extLst>
                <a:ext uri="{FF2B5EF4-FFF2-40B4-BE49-F238E27FC236}">
                  <a16:creationId xmlns:a16="http://schemas.microsoft.com/office/drawing/2014/main" id="{BA131E28-B323-4A47-9DC2-55C41776A5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6766" y="2940825"/>
              <a:ext cx="219639" cy="255049"/>
            </a:xfrm>
            <a:custGeom>
              <a:avLst/>
              <a:gdLst>
                <a:gd name="T0" fmla="*/ 201 w 286"/>
                <a:gd name="T1" fmla="*/ 190 h 332"/>
                <a:gd name="T2" fmla="*/ 200 w 286"/>
                <a:gd name="T3" fmla="*/ 190 h 332"/>
                <a:gd name="T4" fmla="*/ 174 w 286"/>
                <a:gd name="T5" fmla="*/ 163 h 332"/>
                <a:gd name="T6" fmla="*/ 174 w 286"/>
                <a:gd name="T7" fmla="*/ 111 h 332"/>
                <a:gd name="T8" fmla="*/ 174 w 286"/>
                <a:gd name="T9" fmla="*/ 8 h 332"/>
                <a:gd name="T10" fmla="*/ 172 w 286"/>
                <a:gd name="T11" fmla="*/ 2 h 332"/>
                <a:gd name="T12" fmla="*/ 166 w 286"/>
                <a:gd name="T13" fmla="*/ 0 h 332"/>
                <a:gd name="T14" fmla="*/ 0 w 286"/>
                <a:gd name="T15" fmla="*/ 166 h 332"/>
                <a:gd name="T16" fmla="*/ 6 w 286"/>
                <a:gd name="T17" fmla="*/ 209 h 332"/>
                <a:gd name="T18" fmla="*/ 23 w 286"/>
                <a:gd name="T19" fmla="*/ 250 h 332"/>
                <a:gd name="T20" fmla="*/ 24 w 286"/>
                <a:gd name="T21" fmla="*/ 252 h 332"/>
                <a:gd name="T22" fmla="*/ 49 w 286"/>
                <a:gd name="T23" fmla="*/ 283 h 332"/>
                <a:gd name="T24" fmla="*/ 49 w 286"/>
                <a:gd name="T25" fmla="*/ 284 h 332"/>
                <a:gd name="T26" fmla="*/ 50 w 286"/>
                <a:gd name="T27" fmla="*/ 285 h 332"/>
                <a:gd name="T28" fmla="*/ 82 w 286"/>
                <a:gd name="T29" fmla="*/ 309 h 332"/>
                <a:gd name="T30" fmla="*/ 84 w 286"/>
                <a:gd name="T31" fmla="*/ 310 h 332"/>
                <a:gd name="T32" fmla="*/ 125 w 286"/>
                <a:gd name="T33" fmla="*/ 327 h 332"/>
                <a:gd name="T34" fmla="*/ 126 w 286"/>
                <a:gd name="T35" fmla="*/ 327 h 332"/>
                <a:gd name="T36" fmla="*/ 166 w 286"/>
                <a:gd name="T37" fmla="*/ 332 h 332"/>
                <a:gd name="T38" fmla="*/ 283 w 286"/>
                <a:gd name="T39" fmla="*/ 284 h 332"/>
                <a:gd name="T40" fmla="*/ 286 w 286"/>
                <a:gd name="T41" fmla="*/ 279 h 332"/>
                <a:gd name="T42" fmla="*/ 283 w 286"/>
                <a:gd name="T43" fmla="*/ 273 h 332"/>
                <a:gd name="T44" fmla="*/ 201 w 286"/>
                <a:gd name="T45" fmla="*/ 190 h 332"/>
                <a:gd name="T46" fmla="*/ 134 w 286"/>
                <a:gd name="T47" fmla="*/ 19 h 332"/>
                <a:gd name="T48" fmla="*/ 19 w 286"/>
                <a:gd name="T49" fmla="*/ 134 h 332"/>
                <a:gd name="T50" fmla="*/ 134 w 286"/>
                <a:gd name="T51" fmla="*/ 19 h 332"/>
                <a:gd name="T52" fmla="*/ 16 w 286"/>
                <a:gd name="T53" fmla="*/ 166 h 332"/>
                <a:gd name="T54" fmla="*/ 16 w 286"/>
                <a:gd name="T55" fmla="*/ 159 h 332"/>
                <a:gd name="T56" fmla="*/ 159 w 286"/>
                <a:gd name="T57" fmla="*/ 16 h 332"/>
                <a:gd name="T58" fmla="*/ 159 w 286"/>
                <a:gd name="T59" fmla="*/ 51 h 332"/>
                <a:gd name="T60" fmla="*/ 18 w 286"/>
                <a:gd name="T61" fmla="*/ 192 h 332"/>
                <a:gd name="T62" fmla="*/ 16 w 286"/>
                <a:gd name="T63" fmla="*/ 166 h 332"/>
                <a:gd name="T64" fmla="*/ 22 w 286"/>
                <a:gd name="T65" fmla="*/ 209 h 332"/>
                <a:gd name="T66" fmla="*/ 159 w 286"/>
                <a:gd name="T67" fmla="*/ 72 h 332"/>
                <a:gd name="T68" fmla="*/ 159 w 286"/>
                <a:gd name="T69" fmla="*/ 108 h 332"/>
                <a:gd name="T70" fmla="*/ 32 w 286"/>
                <a:gd name="T71" fmla="*/ 234 h 332"/>
                <a:gd name="T72" fmla="*/ 22 w 286"/>
                <a:gd name="T73" fmla="*/ 209 h 332"/>
                <a:gd name="T74" fmla="*/ 40 w 286"/>
                <a:gd name="T75" fmla="*/ 248 h 332"/>
                <a:gd name="T76" fmla="*/ 159 w 286"/>
                <a:gd name="T77" fmla="*/ 129 h 332"/>
                <a:gd name="T78" fmla="*/ 159 w 286"/>
                <a:gd name="T79" fmla="*/ 164 h 332"/>
                <a:gd name="T80" fmla="*/ 55 w 286"/>
                <a:gd name="T81" fmla="*/ 268 h 332"/>
                <a:gd name="T82" fmla="*/ 40 w 286"/>
                <a:gd name="T83" fmla="*/ 248 h 332"/>
                <a:gd name="T84" fmla="*/ 66 w 286"/>
                <a:gd name="T85" fmla="*/ 279 h 332"/>
                <a:gd name="T86" fmla="*/ 167 w 286"/>
                <a:gd name="T87" fmla="*/ 178 h 332"/>
                <a:gd name="T88" fmla="*/ 184 w 286"/>
                <a:gd name="T89" fmla="*/ 195 h 332"/>
                <a:gd name="T90" fmla="*/ 86 w 286"/>
                <a:gd name="T91" fmla="*/ 294 h 332"/>
                <a:gd name="T92" fmla="*/ 66 w 286"/>
                <a:gd name="T93" fmla="*/ 279 h 332"/>
                <a:gd name="T94" fmla="*/ 125 w 286"/>
                <a:gd name="T95" fmla="*/ 311 h 332"/>
                <a:gd name="T96" fmla="*/ 100 w 286"/>
                <a:gd name="T97" fmla="*/ 301 h 332"/>
                <a:gd name="T98" fmla="*/ 195 w 286"/>
                <a:gd name="T99" fmla="*/ 206 h 332"/>
                <a:gd name="T100" fmla="*/ 213 w 286"/>
                <a:gd name="T101" fmla="*/ 224 h 332"/>
                <a:gd name="T102" fmla="*/ 125 w 286"/>
                <a:gd name="T103" fmla="*/ 311 h 332"/>
                <a:gd name="T104" fmla="*/ 143 w 286"/>
                <a:gd name="T105" fmla="*/ 315 h 332"/>
                <a:gd name="T106" fmla="*/ 223 w 286"/>
                <a:gd name="T107" fmla="*/ 234 h 332"/>
                <a:gd name="T108" fmla="*/ 241 w 286"/>
                <a:gd name="T109" fmla="*/ 252 h 332"/>
                <a:gd name="T110" fmla="*/ 176 w 286"/>
                <a:gd name="T111" fmla="*/ 317 h 332"/>
                <a:gd name="T112" fmla="*/ 143 w 286"/>
                <a:gd name="T113" fmla="*/ 315 h 332"/>
                <a:gd name="T114" fmla="*/ 201 w 286"/>
                <a:gd name="T115" fmla="*/ 313 h 332"/>
                <a:gd name="T116" fmla="*/ 252 w 286"/>
                <a:gd name="T117" fmla="*/ 263 h 332"/>
                <a:gd name="T118" fmla="*/ 267 w 286"/>
                <a:gd name="T119" fmla="*/ 278 h 332"/>
                <a:gd name="T120" fmla="*/ 201 w 286"/>
                <a:gd name="T121" fmla="*/ 313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6" h="332">
                  <a:moveTo>
                    <a:pt x="201" y="190"/>
                  </a:moveTo>
                  <a:cubicBezTo>
                    <a:pt x="201" y="190"/>
                    <a:pt x="201" y="190"/>
                    <a:pt x="200" y="190"/>
                  </a:cubicBezTo>
                  <a:cubicBezTo>
                    <a:pt x="200" y="190"/>
                    <a:pt x="200" y="190"/>
                    <a:pt x="174" y="163"/>
                  </a:cubicBezTo>
                  <a:cubicBezTo>
                    <a:pt x="174" y="163"/>
                    <a:pt x="174" y="163"/>
                    <a:pt x="174" y="111"/>
                  </a:cubicBezTo>
                  <a:cubicBezTo>
                    <a:pt x="174" y="111"/>
                    <a:pt x="174" y="111"/>
                    <a:pt x="174" y="8"/>
                  </a:cubicBezTo>
                  <a:cubicBezTo>
                    <a:pt x="174" y="6"/>
                    <a:pt x="173" y="4"/>
                    <a:pt x="172" y="2"/>
                  </a:cubicBezTo>
                  <a:cubicBezTo>
                    <a:pt x="170" y="1"/>
                    <a:pt x="168" y="0"/>
                    <a:pt x="166" y="0"/>
                  </a:cubicBezTo>
                  <a:cubicBezTo>
                    <a:pt x="75" y="0"/>
                    <a:pt x="0" y="75"/>
                    <a:pt x="0" y="166"/>
                  </a:cubicBezTo>
                  <a:cubicBezTo>
                    <a:pt x="0" y="181"/>
                    <a:pt x="2" y="195"/>
                    <a:pt x="6" y="209"/>
                  </a:cubicBezTo>
                  <a:cubicBezTo>
                    <a:pt x="10" y="224"/>
                    <a:pt x="16" y="237"/>
                    <a:pt x="23" y="250"/>
                  </a:cubicBezTo>
                  <a:cubicBezTo>
                    <a:pt x="23" y="251"/>
                    <a:pt x="24" y="251"/>
                    <a:pt x="24" y="252"/>
                  </a:cubicBezTo>
                  <a:cubicBezTo>
                    <a:pt x="31" y="263"/>
                    <a:pt x="39" y="274"/>
                    <a:pt x="49" y="283"/>
                  </a:cubicBezTo>
                  <a:cubicBezTo>
                    <a:pt x="49" y="284"/>
                    <a:pt x="49" y="284"/>
                    <a:pt x="49" y="284"/>
                  </a:cubicBezTo>
                  <a:cubicBezTo>
                    <a:pt x="50" y="284"/>
                    <a:pt x="50" y="285"/>
                    <a:pt x="50" y="285"/>
                  </a:cubicBezTo>
                  <a:cubicBezTo>
                    <a:pt x="60" y="294"/>
                    <a:pt x="71" y="303"/>
                    <a:pt x="82" y="309"/>
                  </a:cubicBezTo>
                  <a:cubicBezTo>
                    <a:pt x="83" y="310"/>
                    <a:pt x="83" y="310"/>
                    <a:pt x="84" y="310"/>
                  </a:cubicBezTo>
                  <a:cubicBezTo>
                    <a:pt x="97" y="318"/>
                    <a:pt x="110" y="323"/>
                    <a:pt x="125" y="327"/>
                  </a:cubicBezTo>
                  <a:cubicBezTo>
                    <a:pt x="125" y="327"/>
                    <a:pt x="125" y="327"/>
                    <a:pt x="126" y="327"/>
                  </a:cubicBezTo>
                  <a:cubicBezTo>
                    <a:pt x="139" y="331"/>
                    <a:pt x="152" y="332"/>
                    <a:pt x="166" y="332"/>
                  </a:cubicBezTo>
                  <a:cubicBezTo>
                    <a:pt x="211" y="332"/>
                    <a:pt x="252" y="315"/>
                    <a:pt x="283" y="284"/>
                  </a:cubicBezTo>
                  <a:cubicBezTo>
                    <a:pt x="285" y="283"/>
                    <a:pt x="286" y="281"/>
                    <a:pt x="286" y="279"/>
                  </a:cubicBezTo>
                  <a:cubicBezTo>
                    <a:pt x="286" y="277"/>
                    <a:pt x="285" y="275"/>
                    <a:pt x="283" y="273"/>
                  </a:cubicBezTo>
                  <a:cubicBezTo>
                    <a:pt x="283" y="273"/>
                    <a:pt x="283" y="273"/>
                    <a:pt x="201" y="190"/>
                  </a:cubicBezTo>
                  <a:close/>
                  <a:moveTo>
                    <a:pt x="134" y="19"/>
                  </a:moveTo>
                  <a:cubicBezTo>
                    <a:pt x="19" y="134"/>
                    <a:pt x="19" y="134"/>
                    <a:pt x="19" y="134"/>
                  </a:cubicBezTo>
                  <a:cubicBezTo>
                    <a:pt x="32" y="77"/>
                    <a:pt x="77" y="31"/>
                    <a:pt x="134" y="19"/>
                  </a:cubicBezTo>
                  <a:close/>
                  <a:moveTo>
                    <a:pt x="16" y="166"/>
                  </a:moveTo>
                  <a:cubicBezTo>
                    <a:pt x="16" y="164"/>
                    <a:pt x="16" y="161"/>
                    <a:pt x="16" y="159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6"/>
                    <a:pt x="159" y="16"/>
                    <a:pt x="159" y="51"/>
                  </a:cubicBezTo>
                  <a:cubicBezTo>
                    <a:pt x="159" y="51"/>
                    <a:pt x="159" y="51"/>
                    <a:pt x="18" y="192"/>
                  </a:cubicBezTo>
                  <a:cubicBezTo>
                    <a:pt x="16" y="184"/>
                    <a:pt x="16" y="175"/>
                    <a:pt x="16" y="166"/>
                  </a:cubicBezTo>
                  <a:close/>
                  <a:moveTo>
                    <a:pt x="22" y="209"/>
                  </a:moveTo>
                  <a:cubicBezTo>
                    <a:pt x="159" y="72"/>
                    <a:pt x="159" y="72"/>
                    <a:pt x="159" y="72"/>
                  </a:cubicBezTo>
                  <a:cubicBezTo>
                    <a:pt x="159" y="72"/>
                    <a:pt x="159" y="72"/>
                    <a:pt x="159" y="108"/>
                  </a:cubicBezTo>
                  <a:cubicBezTo>
                    <a:pt x="159" y="108"/>
                    <a:pt x="159" y="108"/>
                    <a:pt x="32" y="234"/>
                  </a:cubicBezTo>
                  <a:cubicBezTo>
                    <a:pt x="28" y="226"/>
                    <a:pt x="24" y="218"/>
                    <a:pt x="22" y="209"/>
                  </a:cubicBezTo>
                  <a:close/>
                  <a:moveTo>
                    <a:pt x="40" y="248"/>
                  </a:moveTo>
                  <a:cubicBezTo>
                    <a:pt x="159" y="129"/>
                    <a:pt x="159" y="129"/>
                    <a:pt x="159" y="129"/>
                  </a:cubicBezTo>
                  <a:cubicBezTo>
                    <a:pt x="159" y="129"/>
                    <a:pt x="159" y="129"/>
                    <a:pt x="159" y="164"/>
                  </a:cubicBezTo>
                  <a:cubicBezTo>
                    <a:pt x="159" y="164"/>
                    <a:pt x="159" y="164"/>
                    <a:pt x="55" y="268"/>
                  </a:cubicBezTo>
                  <a:cubicBezTo>
                    <a:pt x="49" y="262"/>
                    <a:pt x="44" y="255"/>
                    <a:pt x="40" y="248"/>
                  </a:cubicBezTo>
                  <a:close/>
                  <a:moveTo>
                    <a:pt x="66" y="279"/>
                  </a:moveTo>
                  <a:cubicBezTo>
                    <a:pt x="167" y="178"/>
                    <a:pt x="167" y="178"/>
                    <a:pt x="167" y="178"/>
                  </a:cubicBezTo>
                  <a:cubicBezTo>
                    <a:pt x="167" y="178"/>
                    <a:pt x="167" y="178"/>
                    <a:pt x="184" y="195"/>
                  </a:cubicBezTo>
                  <a:cubicBezTo>
                    <a:pt x="184" y="195"/>
                    <a:pt x="184" y="195"/>
                    <a:pt x="86" y="294"/>
                  </a:cubicBezTo>
                  <a:cubicBezTo>
                    <a:pt x="79" y="289"/>
                    <a:pt x="72" y="284"/>
                    <a:pt x="66" y="279"/>
                  </a:cubicBezTo>
                  <a:close/>
                  <a:moveTo>
                    <a:pt x="125" y="311"/>
                  </a:moveTo>
                  <a:cubicBezTo>
                    <a:pt x="116" y="309"/>
                    <a:pt x="108" y="305"/>
                    <a:pt x="100" y="301"/>
                  </a:cubicBezTo>
                  <a:cubicBezTo>
                    <a:pt x="195" y="206"/>
                    <a:pt x="195" y="206"/>
                    <a:pt x="195" y="206"/>
                  </a:cubicBezTo>
                  <a:cubicBezTo>
                    <a:pt x="195" y="206"/>
                    <a:pt x="195" y="206"/>
                    <a:pt x="213" y="224"/>
                  </a:cubicBezTo>
                  <a:cubicBezTo>
                    <a:pt x="213" y="224"/>
                    <a:pt x="213" y="224"/>
                    <a:pt x="125" y="311"/>
                  </a:cubicBezTo>
                  <a:close/>
                  <a:moveTo>
                    <a:pt x="143" y="315"/>
                  </a:moveTo>
                  <a:cubicBezTo>
                    <a:pt x="223" y="234"/>
                    <a:pt x="223" y="234"/>
                    <a:pt x="223" y="234"/>
                  </a:cubicBezTo>
                  <a:cubicBezTo>
                    <a:pt x="223" y="234"/>
                    <a:pt x="223" y="234"/>
                    <a:pt x="241" y="252"/>
                  </a:cubicBezTo>
                  <a:cubicBezTo>
                    <a:pt x="241" y="252"/>
                    <a:pt x="241" y="252"/>
                    <a:pt x="176" y="317"/>
                  </a:cubicBezTo>
                  <a:cubicBezTo>
                    <a:pt x="165" y="317"/>
                    <a:pt x="153" y="317"/>
                    <a:pt x="143" y="315"/>
                  </a:cubicBezTo>
                  <a:close/>
                  <a:moveTo>
                    <a:pt x="201" y="313"/>
                  </a:moveTo>
                  <a:cubicBezTo>
                    <a:pt x="201" y="313"/>
                    <a:pt x="201" y="313"/>
                    <a:pt x="252" y="263"/>
                  </a:cubicBezTo>
                  <a:cubicBezTo>
                    <a:pt x="267" y="278"/>
                    <a:pt x="267" y="278"/>
                    <a:pt x="267" y="278"/>
                  </a:cubicBezTo>
                  <a:cubicBezTo>
                    <a:pt x="248" y="295"/>
                    <a:pt x="226" y="307"/>
                    <a:pt x="201" y="31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79">
              <a:extLst>
                <a:ext uri="{FF2B5EF4-FFF2-40B4-BE49-F238E27FC236}">
                  <a16:creationId xmlns:a16="http://schemas.microsoft.com/office/drawing/2014/main" id="{78404009-0C41-414B-93F1-CD57EDF98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9692" y="3059369"/>
              <a:ext cx="133426" cy="98530"/>
            </a:xfrm>
            <a:custGeom>
              <a:avLst/>
              <a:gdLst>
                <a:gd name="T0" fmla="*/ 166 w 174"/>
                <a:gd name="T1" fmla="*/ 0 h 129"/>
                <a:gd name="T2" fmla="*/ 8 w 174"/>
                <a:gd name="T3" fmla="*/ 0 h 129"/>
                <a:gd name="T4" fmla="*/ 2 w 174"/>
                <a:gd name="T5" fmla="*/ 2 h 129"/>
                <a:gd name="T6" fmla="*/ 0 w 174"/>
                <a:gd name="T7" fmla="*/ 8 h 129"/>
                <a:gd name="T8" fmla="*/ 0 w 174"/>
                <a:gd name="T9" fmla="*/ 9 h 129"/>
                <a:gd name="T10" fmla="*/ 2 w 174"/>
                <a:gd name="T11" fmla="*/ 15 h 129"/>
                <a:gd name="T12" fmla="*/ 114 w 174"/>
                <a:gd name="T13" fmla="*/ 127 h 129"/>
                <a:gd name="T14" fmla="*/ 119 w 174"/>
                <a:gd name="T15" fmla="*/ 129 h 129"/>
                <a:gd name="T16" fmla="*/ 125 w 174"/>
                <a:gd name="T17" fmla="*/ 127 h 129"/>
                <a:gd name="T18" fmla="*/ 174 w 174"/>
                <a:gd name="T19" fmla="*/ 9 h 129"/>
                <a:gd name="T20" fmla="*/ 174 w 174"/>
                <a:gd name="T21" fmla="*/ 8 h 129"/>
                <a:gd name="T22" fmla="*/ 166 w 174"/>
                <a:gd name="T23" fmla="*/ 0 h 129"/>
                <a:gd name="T24" fmla="*/ 119 w 174"/>
                <a:gd name="T25" fmla="*/ 111 h 129"/>
                <a:gd name="T26" fmla="*/ 24 w 174"/>
                <a:gd name="T27" fmla="*/ 15 h 129"/>
                <a:gd name="T28" fmla="*/ 158 w 174"/>
                <a:gd name="T29" fmla="*/ 15 h 129"/>
                <a:gd name="T30" fmla="*/ 119 w 174"/>
                <a:gd name="T31" fmla="*/ 111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4" h="129">
                  <a:moveTo>
                    <a:pt x="166" y="0"/>
                  </a:moveTo>
                  <a:cubicBezTo>
                    <a:pt x="166" y="0"/>
                    <a:pt x="166" y="0"/>
                    <a:pt x="8" y="0"/>
                  </a:cubicBezTo>
                  <a:cubicBezTo>
                    <a:pt x="6" y="0"/>
                    <a:pt x="4" y="1"/>
                    <a:pt x="2" y="2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11"/>
                    <a:pt x="1" y="13"/>
                    <a:pt x="2" y="15"/>
                  </a:cubicBezTo>
                  <a:cubicBezTo>
                    <a:pt x="2" y="15"/>
                    <a:pt x="2" y="15"/>
                    <a:pt x="114" y="127"/>
                  </a:cubicBezTo>
                  <a:cubicBezTo>
                    <a:pt x="115" y="128"/>
                    <a:pt x="117" y="129"/>
                    <a:pt x="119" y="129"/>
                  </a:cubicBezTo>
                  <a:cubicBezTo>
                    <a:pt x="121" y="129"/>
                    <a:pt x="123" y="128"/>
                    <a:pt x="125" y="127"/>
                  </a:cubicBezTo>
                  <a:cubicBezTo>
                    <a:pt x="156" y="96"/>
                    <a:pt x="174" y="54"/>
                    <a:pt x="174" y="9"/>
                  </a:cubicBezTo>
                  <a:cubicBezTo>
                    <a:pt x="174" y="9"/>
                    <a:pt x="174" y="9"/>
                    <a:pt x="174" y="8"/>
                  </a:cubicBezTo>
                  <a:cubicBezTo>
                    <a:pt x="174" y="3"/>
                    <a:pt x="170" y="0"/>
                    <a:pt x="166" y="0"/>
                  </a:cubicBezTo>
                  <a:close/>
                  <a:moveTo>
                    <a:pt x="119" y="111"/>
                  </a:moveTo>
                  <a:cubicBezTo>
                    <a:pt x="119" y="111"/>
                    <a:pt x="119" y="111"/>
                    <a:pt x="24" y="15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57" y="51"/>
                    <a:pt x="143" y="84"/>
                    <a:pt x="119" y="1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80">
              <a:extLst>
                <a:ext uri="{FF2B5EF4-FFF2-40B4-BE49-F238E27FC236}">
                  <a16:creationId xmlns:a16="http://schemas.microsoft.com/office/drawing/2014/main" id="{4C89EFB6-F76E-9D4B-8F57-E8EE5ADF76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0455" y="2916706"/>
              <a:ext cx="133426" cy="131886"/>
            </a:xfrm>
            <a:custGeom>
              <a:avLst/>
              <a:gdLst>
                <a:gd name="T0" fmla="*/ 8 w 174"/>
                <a:gd name="T1" fmla="*/ 0 h 172"/>
                <a:gd name="T2" fmla="*/ 0 w 174"/>
                <a:gd name="T3" fmla="*/ 8 h 172"/>
                <a:gd name="T4" fmla="*/ 0 w 174"/>
                <a:gd name="T5" fmla="*/ 164 h 172"/>
                <a:gd name="T6" fmla="*/ 8 w 174"/>
                <a:gd name="T7" fmla="*/ 172 h 172"/>
                <a:gd name="T8" fmla="*/ 166 w 174"/>
                <a:gd name="T9" fmla="*/ 172 h 172"/>
                <a:gd name="T10" fmla="*/ 171 w 174"/>
                <a:gd name="T11" fmla="*/ 170 h 172"/>
                <a:gd name="T12" fmla="*/ 174 w 174"/>
                <a:gd name="T13" fmla="*/ 164 h 172"/>
                <a:gd name="T14" fmla="*/ 8 w 174"/>
                <a:gd name="T15" fmla="*/ 0 h 172"/>
                <a:gd name="T16" fmla="*/ 15 w 174"/>
                <a:gd name="T17" fmla="*/ 157 h 172"/>
                <a:gd name="T18" fmla="*/ 15 w 174"/>
                <a:gd name="T19" fmla="*/ 15 h 172"/>
                <a:gd name="T20" fmla="*/ 158 w 174"/>
                <a:gd name="T21" fmla="*/ 157 h 172"/>
                <a:gd name="T22" fmla="*/ 15 w 174"/>
                <a:gd name="T23" fmla="*/ 15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4" h="172">
                  <a:moveTo>
                    <a:pt x="8" y="0"/>
                  </a:moveTo>
                  <a:cubicBezTo>
                    <a:pt x="3" y="0"/>
                    <a:pt x="0" y="3"/>
                    <a:pt x="0" y="8"/>
                  </a:cubicBezTo>
                  <a:cubicBezTo>
                    <a:pt x="0" y="8"/>
                    <a:pt x="0" y="8"/>
                    <a:pt x="0" y="164"/>
                  </a:cubicBezTo>
                  <a:cubicBezTo>
                    <a:pt x="0" y="169"/>
                    <a:pt x="3" y="172"/>
                    <a:pt x="8" y="172"/>
                  </a:cubicBezTo>
                  <a:cubicBezTo>
                    <a:pt x="8" y="172"/>
                    <a:pt x="8" y="172"/>
                    <a:pt x="166" y="172"/>
                  </a:cubicBezTo>
                  <a:cubicBezTo>
                    <a:pt x="168" y="172"/>
                    <a:pt x="170" y="171"/>
                    <a:pt x="171" y="170"/>
                  </a:cubicBezTo>
                  <a:cubicBezTo>
                    <a:pt x="173" y="168"/>
                    <a:pt x="174" y="166"/>
                    <a:pt x="174" y="164"/>
                  </a:cubicBezTo>
                  <a:cubicBezTo>
                    <a:pt x="173" y="74"/>
                    <a:pt x="98" y="0"/>
                    <a:pt x="8" y="0"/>
                  </a:cubicBezTo>
                  <a:close/>
                  <a:moveTo>
                    <a:pt x="15" y="157"/>
                  </a:moveTo>
                  <a:cubicBezTo>
                    <a:pt x="15" y="15"/>
                    <a:pt x="15" y="15"/>
                    <a:pt x="15" y="15"/>
                  </a:cubicBezTo>
                  <a:cubicBezTo>
                    <a:pt x="92" y="19"/>
                    <a:pt x="154" y="81"/>
                    <a:pt x="158" y="157"/>
                  </a:cubicBezTo>
                  <a:cubicBezTo>
                    <a:pt x="158" y="157"/>
                    <a:pt x="158" y="157"/>
                    <a:pt x="15" y="15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85">
              <a:extLst>
                <a:ext uri="{FF2B5EF4-FFF2-40B4-BE49-F238E27FC236}">
                  <a16:creationId xmlns:a16="http://schemas.microsoft.com/office/drawing/2014/main" id="{C1CBE1E0-70FA-0842-8C48-5619C07CDD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5660" y="2763228"/>
              <a:ext cx="825151" cy="722718"/>
            </a:xfrm>
            <a:custGeom>
              <a:avLst/>
              <a:gdLst>
                <a:gd name="T0" fmla="*/ 360 w 387"/>
                <a:gd name="T1" fmla="*/ 0 h 340"/>
                <a:gd name="T2" fmla="*/ 26 w 387"/>
                <a:gd name="T3" fmla="*/ 0 h 340"/>
                <a:gd name="T4" fmla="*/ 0 w 387"/>
                <a:gd name="T5" fmla="*/ 26 h 340"/>
                <a:gd name="T6" fmla="*/ 0 w 387"/>
                <a:gd name="T7" fmla="*/ 256 h 340"/>
                <a:gd name="T8" fmla="*/ 26 w 387"/>
                <a:gd name="T9" fmla="*/ 283 h 340"/>
                <a:gd name="T10" fmla="*/ 152 w 387"/>
                <a:gd name="T11" fmla="*/ 283 h 340"/>
                <a:gd name="T12" fmla="*/ 152 w 387"/>
                <a:gd name="T13" fmla="*/ 325 h 340"/>
                <a:gd name="T14" fmla="*/ 97 w 387"/>
                <a:gd name="T15" fmla="*/ 325 h 340"/>
                <a:gd name="T16" fmla="*/ 89 w 387"/>
                <a:gd name="T17" fmla="*/ 333 h 340"/>
                <a:gd name="T18" fmla="*/ 97 w 387"/>
                <a:gd name="T19" fmla="*/ 340 h 340"/>
                <a:gd name="T20" fmla="*/ 290 w 387"/>
                <a:gd name="T21" fmla="*/ 340 h 340"/>
                <a:gd name="T22" fmla="*/ 297 w 387"/>
                <a:gd name="T23" fmla="*/ 333 h 340"/>
                <a:gd name="T24" fmla="*/ 290 w 387"/>
                <a:gd name="T25" fmla="*/ 325 h 340"/>
                <a:gd name="T26" fmla="*/ 235 w 387"/>
                <a:gd name="T27" fmla="*/ 325 h 340"/>
                <a:gd name="T28" fmla="*/ 235 w 387"/>
                <a:gd name="T29" fmla="*/ 283 h 340"/>
                <a:gd name="T30" fmla="*/ 360 w 387"/>
                <a:gd name="T31" fmla="*/ 283 h 340"/>
                <a:gd name="T32" fmla="*/ 387 w 387"/>
                <a:gd name="T33" fmla="*/ 256 h 340"/>
                <a:gd name="T34" fmla="*/ 387 w 387"/>
                <a:gd name="T35" fmla="*/ 26 h 340"/>
                <a:gd name="T36" fmla="*/ 360 w 387"/>
                <a:gd name="T37" fmla="*/ 0 h 340"/>
                <a:gd name="T38" fmla="*/ 220 w 387"/>
                <a:gd name="T39" fmla="*/ 325 h 340"/>
                <a:gd name="T40" fmla="*/ 167 w 387"/>
                <a:gd name="T41" fmla="*/ 325 h 340"/>
                <a:gd name="T42" fmla="*/ 167 w 387"/>
                <a:gd name="T43" fmla="*/ 283 h 340"/>
                <a:gd name="T44" fmla="*/ 220 w 387"/>
                <a:gd name="T45" fmla="*/ 283 h 340"/>
                <a:gd name="T46" fmla="*/ 220 w 387"/>
                <a:gd name="T47" fmla="*/ 325 h 340"/>
                <a:gd name="T48" fmla="*/ 372 w 387"/>
                <a:gd name="T49" fmla="*/ 256 h 340"/>
                <a:gd name="T50" fmla="*/ 360 w 387"/>
                <a:gd name="T51" fmla="*/ 268 h 340"/>
                <a:gd name="T52" fmla="*/ 26 w 387"/>
                <a:gd name="T53" fmla="*/ 268 h 340"/>
                <a:gd name="T54" fmla="*/ 15 w 387"/>
                <a:gd name="T55" fmla="*/ 256 h 340"/>
                <a:gd name="T56" fmla="*/ 15 w 387"/>
                <a:gd name="T57" fmla="*/ 26 h 340"/>
                <a:gd name="T58" fmla="*/ 26 w 387"/>
                <a:gd name="T59" fmla="*/ 15 h 340"/>
                <a:gd name="T60" fmla="*/ 360 w 387"/>
                <a:gd name="T61" fmla="*/ 15 h 340"/>
                <a:gd name="T62" fmla="*/ 372 w 387"/>
                <a:gd name="T63" fmla="*/ 26 h 340"/>
                <a:gd name="T64" fmla="*/ 372 w 387"/>
                <a:gd name="T65" fmla="*/ 25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7" h="340">
                  <a:moveTo>
                    <a:pt x="360" y="0"/>
                  </a:moveTo>
                  <a:cubicBezTo>
                    <a:pt x="360" y="0"/>
                    <a:pt x="360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26"/>
                    <a:pt x="0" y="26"/>
                    <a:pt x="0" y="256"/>
                  </a:cubicBezTo>
                  <a:cubicBezTo>
                    <a:pt x="0" y="271"/>
                    <a:pt x="12" y="283"/>
                    <a:pt x="26" y="283"/>
                  </a:cubicBezTo>
                  <a:cubicBezTo>
                    <a:pt x="26" y="283"/>
                    <a:pt x="26" y="283"/>
                    <a:pt x="152" y="283"/>
                  </a:cubicBezTo>
                  <a:cubicBezTo>
                    <a:pt x="152" y="289"/>
                    <a:pt x="152" y="301"/>
                    <a:pt x="152" y="325"/>
                  </a:cubicBezTo>
                  <a:cubicBezTo>
                    <a:pt x="152" y="325"/>
                    <a:pt x="152" y="325"/>
                    <a:pt x="97" y="325"/>
                  </a:cubicBezTo>
                  <a:cubicBezTo>
                    <a:pt x="93" y="325"/>
                    <a:pt x="89" y="329"/>
                    <a:pt x="89" y="333"/>
                  </a:cubicBezTo>
                  <a:cubicBezTo>
                    <a:pt x="89" y="337"/>
                    <a:pt x="93" y="340"/>
                    <a:pt x="97" y="340"/>
                  </a:cubicBezTo>
                  <a:cubicBezTo>
                    <a:pt x="97" y="340"/>
                    <a:pt x="97" y="340"/>
                    <a:pt x="290" y="340"/>
                  </a:cubicBezTo>
                  <a:cubicBezTo>
                    <a:pt x="294" y="340"/>
                    <a:pt x="297" y="337"/>
                    <a:pt x="297" y="333"/>
                  </a:cubicBezTo>
                  <a:cubicBezTo>
                    <a:pt x="297" y="329"/>
                    <a:pt x="294" y="325"/>
                    <a:pt x="290" y="325"/>
                  </a:cubicBezTo>
                  <a:cubicBezTo>
                    <a:pt x="290" y="325"/>
                    <a:pt x="290" y="325"/>
                    <a:pt x="235" y="325"/>
                  </a:cubicBezTo>
                  <a:cubicBezTo>
                    <a:pt x="235" y="325"/>
                    <a:pt x="235" y="325"/>
                    <a:pt x="235" y="283"/>
                  </a:cubicBezTo>
                  <a:cubicBezTo>
                    <a:pt x="270" y="283"/>
                    <a:pt x="311" y="283"/>
                    <a:pt x="360" y="283"/>
                  </a:cubicBezTo>
                  <a:cubicBezTo>
                    <a:pt x="375" y="283"/>
                    <a:pt x="387" y="271"/>
                    <a:pt x="387" y="256"/>
                  </a:cubicBezTo>
                  <a:cubicBezTo>
                    <a:pt x="387" y="256"/>
                    <a:pt x="387" y="256"/>
                    <a:pt x="387" y="26"/>
                  </a:cubicBezTo>
                  <a:cubicBezTo>
                    <a:pt x="387" y="12"/>
                    <a:pt x="375" y="0"/>
                    <a:pt x="360" y="0"/>
                  </a:cubicBezTo>
                  <a:close/>
                  <a:moveTo>
                    <a:pt x="220" y="325"/>
                  </a:moveTo>
                  <a:cubicBezTo>
                    <a:pt x="220" y="325"/>
                    <a:pt x="220" y="325"/>
                    <a:pt x="167" y="325"/>
                  </a:cubicBezTo>
                  <a:cubicBezTo>
                    <a:pt x="167" y="325"/>
                    <a:pt x="167" y="325"/>
                    <a:pt x="167" y="283"/>
                  </a:cubicBezTo>
                  <a:cubicBezTo>
                    <a:pt x="182" y="283"/>
                    <a:pt x="200" y="283"/>
                    <a:pt x="220" y="283"/>
                  </a:cubicBezTo>
                  <a:cubicBezTo>
                    <a:pt x="220" y="289"/>
                    <a:pt x="220" y="301"/>
                    <a:pt x="220" y="325"/>
                  </a:cubicBezTo>
                  <a:close/>
                  <a:moveTo>
                    <a:pt x="372" y="256"/>
                  </a:moveTo>
                  <a:cubicBezTo>
                    <a:pt x="372" y="262"/>
                    <a:pt x="367" y="268"/>
                    <a:pt x="360" y="268"/>
                  </a:cubicBezTo>
                  <a:cubicBezTo>
                    <a:pt x="360" y="268"/>
                    <a:pt x="360" y="268"/>
                    <a:pt x="26" y="268"/>
                  </a:cubicBezTo>
                  <a:cubicBezTo>
                    <a:pt x="20" y="268"/>
                    <a:pt x="15" y="262"/>
                    <a:pt x="15" y="256"/>
                  </a:cubicBezTo>
                  <a:cubicBezTo>
                    <a:pt x="15" y="256"/>
                    <a:pt x="15" y="256"/>
                    <a:pt x="15" y="26"/>
                  </a:cubicBezTo>
                  <a:cubicBezTo>
                    <a:pt x="15" y="20"/>
                    <a:pt x="20" y="15"/>
                    <a:pt x="26" y="15"/>
                  </a:cubicBezTo>
                  <a:cubicBezTo>
                    <a:pt x="360" y="15"/>
                    <a:pt x="360" y="15"/>
                    <a:pt x="360" y="15"/>
                  </a:cubicBezTo>
                  <a:cubicBezTo>
                    <a:pt x="367" y="15"/>
                    <a:pt x="372" y="20"/>
                    <a:pt x="372" y="26"/>
                  </a:cubicBezTo>
                  <a:cubicBezTo>
                    <a:pt x="372" y="26"/>
                    <a:pt x="372" y="26"/>
                    <a:pt x="372" y="25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86">
              <a:extLst>
                <a:ext uri="{FF2B5EF4-FFF2-40B4-BE49-F238E27FC236}">
                  <a16:creationId xmlns:a16="http://schemas.microsoft.com/office/drawing/2014/main" id="{CAC370DC-F19C-4E4F-967B-5ED93B0211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3990" y="2818712"/>
              <a:ext cx="708492" cy="487977"/>
            </a:xfrm>
            <a:custGeom>
              <a:avLst/>
              <a:gdLst>
                <a:gd name="T0" fmla="*/ 325 w 333"/>
                <a:gd name="T1" fmla="*/ 0 h 230"/>
                <a:gd name="T2" fmla="*/ 7 w 333"/>
                <a:gd name="T3" fmla="*/ 0 h 230"/>
                <a:gd name="T4" fmla="*/ 0 w 333"/>
                <a:gd name="T5" fmla="*/ 8 h 230"/>
                <a:gd name="T6" fmla="*/ 0 w 333"/>
                <a:gd name="T7" fmla="*/ 223 h 230"/>
                <a:gd name="T8" fmla="*/ 7 w 333"/>
                <a:gd name="T9" fmla="*/ 230 h 230"/>
                <a:gd name="T10" fmla="*/ 325 w 333"/>
                <a:gd name="T11" fmla="*/ 230 h 230"/>
                <a:gd name="T12" fmla="*/ 333 w 333"/>
                <a:gd name="T13" fmla="*/ 223 h 230"/>
                <a:gd name="T14" fmla="*/ 333 w 333"/>
                <a:gd name="T15" fmla="*/ 8 h 230"/>
                <a:gd name="T16" fmla="*/ 325 w 333"/>
                <a:gd name="T17" fmla="*/ 0 h 230"/>
                <a:gd name="T18" fmla="*/ 318 w 333"/>
                <a:gd name="T19" fmla="*/ 215 h 230"/>
                <a:gd name="T20" fmla="*/ 15 w 333"/>
                <a:gd name="T21" fmla="*/ 215 h 230"/>
                <a:gd name="T22" fmla="*/ 15 w 333"/>
                <a:gd name="T23" fmla="*/ 15 h 230"/>
                <a:gd name="T24" fmla="*/ 318 w 333"/>
                <a:gd name="T25" fmla="*/ 15 h 230"/>
                <a:gd name="T26" fmla="*/ 318 w 333"/>
                <a:gd name="T27" fmla="*/ 215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3" h="230">
                  <a:moveTo>
                    <a:pt x="325" y="0"/>
                  </a:moveTo>
                  <a:cubicBezTo>
                    <a:pt x="325" y="0"/>
                    <a:pt x="325" y="0"/>
                    <a:pt x="7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8"/>
                    <a:pt x="0" y="8"/>
                    <a:pt x="0" y="223"/>
                  </a:cubicBezTo>
                  <a:cubicBezTo>
                    <a:pt x="0" y="227"/>
                    <a:pt x="3" y="230"/>
                    <a:pt x="7" y="230"/>
                  </a:cubicBezTo>
                  <a:cubicBezTo>
                    <a:pt x="7" y="230"/>
                    <a:pt x="7" y="230"/>
                    <a:pt x="325" y="230"/>
                  </a:cubicBezTo>
                  <a:cubicBezTo>
                    <a:pt x="330" y="230"/>
                    <a:pt x="333" y="227"/>
                    <a:pt x="333" y="223"/>
                  </a:cubicBezTo>
                  <a:cubicBezTo>
                    <a:pt x="333" y="223"/>
                    <a:pt x="333" y="223"/>
                    <a:pt x="333" y="8"/>
                  </a:cubicBezTo>
                  <a:cubicBezTo>
                    <a:pt x="333" y="3"/>
                    <a:pt x="330" y="0"/>
                    <a:pt x="325" y="0"/>
                  </a:cubicBezTo>
                  <a:close/>
                  <a:moveTo>
                    <a:pt x="318" y="215"/>
                  </a:moveTo>
                  <a:cubicBezTo>
                    <a:pt x="318" y="215"/>
                    <a:pt x="318" y="215"/>
                    <a:pt x="15" y="2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318" y="15"/>
                  </a:cubicBezTo>
                  <a:cubicBezTo>
                    <a:pt x="318" y="15"/>
                    <a:pt x="318" y="15"/>
                    <a:pt x="318" y="2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62" name="Product system"/>
          <p:cNvSpPr txBox="1"/>
          <p:nvPr/>
        </p:nvSpPr>
        <p:spPr>
          <a:xfrm>
            <a:off x="8790235" y="5076043"/>
            <a:ext cx="1576072" cy="307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2800" b="1">
                <a:solidFill>
                  <a:srgbClr val="53585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pPr marL="0" marR="0" lvl="0" indent="0" algn="ctr" defTabSz="1828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Product system</a:t>
            </a:r>
          </a:p>
        </p:txBody>
      </p:sp>
      <p:grpSp>
        <p:nvGrpSpPr>
          <p:cNvPr id="8" name="Grupp 7">
            <a:extLst>
              <a:ext uri="{FF2B5EF4-FFF2-40B4-BE49-F238E27FC236}">
                <a16:creationId xmlns:a16="http://schemas.microsoft.com/office/drawing/2014/main" id="{9CB52416-CA1E-834D-9F8D-89F4E01DEE6B}"/>
              </a:ext>
            </a:extLst>
          </p:cNvPr>
          <p:cNvGrpSpPr/>
          <p:nvPr/>
        </p:nvGrpSpPr>
        <p:grpSpPr>
          <a:xfrm>
            <a:off x="8174469" y="1551906"/>
            <a:ext cx="2944484" cy="3152643"/>
            <a:chOff x="7294376" y="3028312"/>
            <a:chExt cx="1378266" cy="1475702"/>
          </a:xfrm>
        </p:grpSpPr>
        <p:sp>
          <p:nvSpPr>
            <p:cNvPr id="463" name="Circle"/>
            <p:cNvSpPr/>
            <p:nvPr/>
          </p:nvSpPr>
          <p:spPr>
            <a:xfrm>
              <a:off x="7432331" y="3324259"/>
              <a:ext cx="1010678" cy="1010678"/>
            </a:xfrm>
            <a:prstGeom prst="ellipse">
              <a:avLst/>
            </a:prstGeom>
            <a:ln w="28575">
              <a:solidFill>
                <a:schemeClr val="tx2"/>
              </a:solidFill>
              <a:miter/>
            </a:ln>
          </p:spPr>
          <p:txBody>
            <a:bodyPr tIns="45720" bIns="4572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000000"/>
                  </a:solidFill>
                  <a:latin typeface="Verdana"/>
                  <a:ea typeface="Verdana"/>
                  <a:cs typeface="Verdana"/>
                  <a:sym typeface="Verdana"/>
                </a:defRPr>
              </a:pPr>
              <a:endParaRPr kumimoji="0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134" name="Ellips 133">
              <a:extLst>
                <a:ext uri="{FF2B5EF4-FFF2-40B4-BE49-F238E27FC236}">
                  <a16:creationId xmlns:a16="http://schemas.microsoft.com/office/drawing/2014/main" id="{E74CD1BC-0740-9F49-B4FF-A2719538ED94}"/>
                </a:ext>
              </a:extLst>
            </p:cNvPr>
            <p:cNvSpPr/>
            <p:nvPr/>
          </p:nvSpPr>
          <p:spPr>
            <a:xfrm>
              <a:off x="7701979" y="3028312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sp>
          <p:nvSpPr>
            <p:cNvPr id="135" name="Ellips 134">
              <a:extLst>
                <a:ext uri="{FF2B5EF4-FFF2-40B4-BE49-F238E27FC236}">
                  <a16:creationId xmlns:a16="http://schemas.microsoft.com/office/drawing/2014/main" id="{9621F5EA-742F-6746-8F3B-4916532CFF4A}"/>
                </a:ext>
              </a:extLst>
            </p:cNvPr>
            <p:cNvSpPr/>
            <p:nvPr/>
          </p:nvSpPr>
          <p:spPr>
            <a:xfrm>
              <a:off x="7731959" y="4047643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sp>
          <p:nvSpPr>
            <p:cNvPr id="136" name="Ellips 135">
              <a:extLst>
                <a:ext uri="{FF2B5EF4-FFF2-40B4-BE49-F238E27FC236}">
                  <a16:creationId xmlns:a16="http://schemas.microsoft.com/office/drawing/2014/main" id="{174445FA-945B-4A4E-BDE0-9422B7C06F97}"/>
                </a:ext>
              </a:extLst>
            </p:cNvPr>
            <p:cNvSpPr/>
            <p:nvPr/>
          </p:nvSpPr>
          <p:spPr>
            <a:xfrm>
              <a:off x="7294376" y="3576908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sp>
          <p:nvSpPr>
            <p:cNvPr id="7" name="Ellips 6">
              <a:extLst>
                <a:ext uri="{FF2B5EF4-FFF2-40B4-BE49-F238E27FC236}">
                  <a16:creationId xmlns:a16="http://schemas.microsoft.com/office/drawing/2014/main" id="{3C8557FB-2E0C-D14B-95C4-8BB156304914}"/>
                </a:ext>
              </a:extLst>
            </p:cNvPr>
            <p:cNvSpPr/>
            <p:nvPr/>
          </p:nvSpPr>
          <p:spPr>
            <a:xfrm>
              <a:off x="8216271" y="3576908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grpSp>
          <p:nvGrpSpPr>
            <p:cNvPr id="92" name="Grupp 91">
              <a:extLst>
                <a:ext uri="{FF2B5EF4-FFF2-40B4-BE49-F238E27FC236}">
                  <a16:creationId xmlns:a16="http://schemas.microsoft.com/office/drawing/2014/main" id="{407087DC-2C97-0E41-BEBD-C8E285A4CF5C}"/>
                </a:ext>
              </a:extLst>
            </p:cNvPr>
            <p:cNvGrpSpPr/>
            <p:nvPr/>
          </p:nvGrpSpPr>
          <p:grpSpPr>
            <a:xfrm>
              <a:off x="7810009" y="4146471"/>
              <a:ext cx="315500" cy="291795"/>
              <a:chOff x="9631363" y="5491163"/>
              <a:chExt cx="887413" cy="820738"/>
            </a:xfrm>
          </p:grpSpPr>
          <p:sp>
            <p:nvSpPr>
              <p:cNvPr id="93" name="Freeform 66">
                <a:extLst>
                  <a:ext uri="{FF2B5EF4-FFF2-40B4-BE49-F238E27FC236}">
                    <a16:creationId xmlns:a16="http://schemas.microsoft.com/office/drawing/2014/main" id="{AE4A7EDF-15AA-B445-AEC9-A471272862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31363" y="5491163"/>
                <a:ext cx="887413" cy="700088"/>
              </a:xfrm>
              <a:custGeom>
                <a:avLst/>
                <a:gdLst>
                  <a:gd name="T0" fmla="*/ 340 w 386"/>
                  <a:gd name="T1" fmla="*/ 144 h 305"/>
                  <a:gd name="T2" fmla="*/ 305 w 386"/>
                  <a:gd name="T3" fmla="*/ 125 h 305"/>
                  <a:gd name="T4" fmla="*/ 255 w 386"/>
                  <a:gd name="T5" fmla="*/ 126 h 305"/>
                  <a:gd name="T6" fmla="*/ 255 w 386"/>
                  <a:gd name="T7" fmla="*/ 24 h 305"/>
                  <a:gd name="T8" fmla="*/ 231 w 386"/>
                  <a:gd name="T9" fmla="*/ 0 h 305"/>
                  <a:gd name="T10" fmla="*/ 23 w 386"/>
                  <a:gd name="T11" fmla="*/ 0 h 305"/>
                  <a:gd name="T12" fmla="*/ 0 w 386"/>
                  <a:gd name="T13" fmla="*/ 24 h 305"/>
                  <a:gd name="T14" fmla="*/ 0 w 386"/>
                  <a:gd name="T15" fmla="*/ 188 h 305"/>
                  <a:gd name="T16" fmla="*/ 0 w 386"/>
                  <a:gd name="T17" fmla="*/ 189 h 305"/>
                  <a:gd name="T18" fmla="*/ 0 w 386"/>
                  <a:gd name="T19" fmla="*/ 190 h 305"/>
                  <a:gd name="T20" fmla="*/ 0 w 386"/>
                  <a:gd name="T21" fmla="*/ 281 h 305"/>
                  <a:gd name="T22" fmla="*/ 23 w 386"/>
                  <a:gd name="T23" fmla="*/ 305 h 305"/>
                  <a:gd name="T24" fmla="*/ 33 w 386"/>
                  <a:gd name="T25" fmla="*/ 305 h 305"/>
                  <a:gd name="T26" fmla="*/ 40 w 386"/>
                  <a:gd name="T27" fmla="*/ 299 h 305"/>
                  <a:gd name="T28" fmla="*/ 94 w 386"/>
                  <a:gd name="T29" fmla="*/ 259 h 305"/>
                  <a:gd name="T30" fmla="*/ 147 w 386"/>
                  <a:gd name="T31" fmla="*/ 299 h 305"/>
                  <a:gd name="T32" fmla="*/ 155 w 386"/>
                  <a:gd name="T33" fmla="*/ 305 h 305"/>
                  <a:gd name="T34" fmla="*/ 231 w 386"/>
                  <a:gd name="T35" fmla="*/ 305 h 305"/>
                  <a:gd name="T36" fmla="*/ 238 w 386"/>
                  <a:gd name="T37" fmla="*/ 299 h 305"/>
                  <a:gd name="T38" fmla="*/ 292 w 386"/>
                  <a:gd name="T39" fmla="*/ 259 h 305"/>
                  <a:gd name="T40" fmla="*/ 345 w 386"/>
                  <a:gd name="T41" fmla="*/ 299 h 305"/>
                  <a:gd name="T42" fmla="*/ 353 w 386"/>
                  <a:gd name="T43" fmla="*/ 305 h 305"/>
                  <a:gd name="T44" fmla="*/ 362 w 386"/>
                  <a:gd name="T45" fmla="*/ 305 h 305"/>
                  <a:gd name="T46" fmla="*/ 386 w 386"/>
                  <a:gd name="T47" fmla="*/ 281 h 305"/>
                  <a:gd name="T48" fmla="*/ 386 w 386"/>
                  <a:gd name="T49" fmla="*/ 234 h 305"/>
                  <a:gd name="T50" fmla="*/ 370 w 386"/>
                  <a:gd name="T51" fmla="*/ 186 h 305"/>
                  <a:gd name="T52" fmla="*/ 340 w 386"/>
                  <a:gd name="T53" fmla="*/ 144 h 305"/>
                  <a:gd name="T54" fmla="*/ 15 w 386"/>
                  <a:gd name="T55" fmla="*/ 24 h 305"/>
                  <a:gd name="T56" fmla="*/ 23 w 386"/>
                  <a:gd name="T57" fmla="*/ 16 h 305"/>
                  <a:gd name="T58" fmla="*/ 231 w 386"/>
                  <a:gd name="T59" fmla="*/ 16 h 305"/>
                  <a:gd name="T60" fmla="*/ 239 w 386"/>
                  <a:gd name="T61" fmla="*/ 24 h 305"/>
                  <a:gd name="T62" fmla="*/ 239 w 386"/>
                  <a:gd name="T63" fmla="*/ 188 h 305"/>
                  <a:gd name="T64" fmla="*/ 231 w 386"/>
                  <a:gd name="T65" fmla="*/ 196 h 305"/>
                  <a:gd name="T66" fmla="*/ 23 w 386"/>
                  <a:gd name="T67" fmla="*/ 196 h 305"/>
                  <a:gd name="T68" fmla="*/ 15 w 386"/>
                  <a:gd name="T69" fmla="*/ 188 h 305"/>
                  <a:gd name="T70" fmla="*/ 15 w 386"/>
                  <a:gd name="T71" fmla="*/ 24 h 305"/>
                  <a:gd name="T72" fmla="*/ 370 w 386"/>
                  <a:gd name="T73" fmla="*/ 281 h 305"/>
                  <a:gd name="T74" fmla="*/ 362 w 386"/>
                  <a:gd name="T75" fmla="*/ 289 h 305"/>
                  <a:gd name="T76" fmla="*/ 358 w 386"/>
                  <a:gd name="T77" fmla="*/ 289 h 305"/>
                  <a:gd name="T78" fmla="*/ 292 w 386"/>
                  <a:gd name="T79" fmla="*/ 243 h 305"/>
                  <a:gd name="T80" fmla="*/ 225 w 386"/>
                  <a:gd name="T81" fmla="*/ 289 h 305"/>
                  <a:gd name="T82" fmla="*/ 160 w 386"/>
                  <a:gd name="T83" fmla="*/ 289 h 305"/>
                  <a:gd name="T84" fmla="*/ 94 w 386"/>
                  <a:gd name="T85" fmla="*/ 243 h 305"/>
                  <a:gd name="T86" fmla="*/ 27 w 386"/>
                  <a:gd name="T87" fmla="*/ 289 h 305"/>
                  <a:gd name="T88" fmla="*/ 23 w 386"/>
                  <a:gd name="T89" fmla="*/ 289 h 305"/>
                  <a:gd name="T90" fmla="*/ 15 w 386"/>
                  <a:gd name="T91" fmla="*/ 281 h 305"/>
                  <a:gd name="T92" fmla="*/ 15 w 386"/>
                  <a:gd name="T93" fmla="*/ 212 h 305"/>
                  <a:gd name="T94" fmla="*/ 23 w 386"/>
                  <a:gd name="T95" fmla="*/ 213 h 305"/>
                  <a:gd name="T96" fmla="*/ 231 w 386"/>
                  <a:gd name="T97" fmla="*/ 213 h 305"/>
                  <a:gd name="T98" fmla="*/ 255 w 386"/>
                  <a:gd name="T99" fmla="*/ 190 h 305"/>
                  <a:gd name="T100" fmla="*/ 255 w 386"/>
                  <a:gd name="T101" fmla="*/ 142 h 305"/>
                  <a:gd name="T102" fmla="*/ 305 w 386"/>
                  <a:gd name="T103" fmla="*/ 141 h 305"/>
                  <a:gd name="T104" fmla="*/ 328 w 386"/>
                  <a:gd name="T105" fmla="*/ 154 h 305"/>
                  <a:gd name="T106" fmla="*/ 357 w 386"/>
                  <a:gd name="T107" fmla="*/ 195 h 305"/>
                  <a:gd name="T108" fmla="*/ 370 w 386"/>
                  <a:gd name="T109" fmla="*/ 234 h 305"/>
                  <a:gd name="T110" fmla="*/ 370 w 386"/>
                  <a:gd name="T111" fmla="*/ 281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86" h="305">
                    <a:moveTo>
                      <a:pt x="340" y="144"/>
                    </a:moveTo>
                    <a:cubicBezTo>
                      <a:pt x="334" y="136"/>
                      <a:pt x="317" y="125"/>
                      <a:pt x="305" y="125"/>
                    </a:cubicBezTo>
                    <a:cubicBezTo>
                      <a:pt x="305" y="125"/>
                      <a:pt x="305" y="125"/>
                      <a:pt x="255" y="126"/>
                    </a:cubicBezTo>
                    <a:cubicBezTo>
                      <a:pt x="255" y="126"/>
                      <a:pt x="255" y="126"/>
                      <a:pt x="255" y="24"/>
                    </a:cubicBezTo>
                    <a:cubicBezTo>
                      <a:pt x="255" y="11"/>
                      <a:pt x="244" y="0"/>
                      <a:pt x="231" y="0"/>
                    </a:cubicBezTo>
                    <a:cubicBezTo>
                      <a:pt x="231" y="0"/>
                      <a:pt x="231" y="0"/>
                      <a:pt x="23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4"/>
                      <a:pt x="0" y="24"/>
                      <a:pt x="0" y="188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0" y="189"/>
                      <a:pt x="0" y="189"/>
                      <a:pt x="0" y="190"/>
                    </a:cubicBezTo>
                    <a:cubicBezTo>
                      <a:pt x="0" y="190"/>
                      <a:pt x="0" y="190"/>
                      <a:pt x="0" y="281"/>
                    </a:cubicBezTo>
                    <a:cubicBezTo>
                      <a:pt x="0" y="294"/>
                      <a:pt x="10" y="305"/>
                      <a:pt x="23" y="305"/>
                    </a:cubicBezTo>
                    <a:cubicBezTo>
                      <a:pt x="23" y="305"/>
                      <a:pt x="23" y="305"/>
                      <a:pt x="33" y="305"/>
                    </a:cubicBezTo>
                    <a:cubicBezTo>
                      <a:pt x="36" y="305"/>
                      <a:pt x="39" y="302"/>
                      <a:pt x="40" y="299"/>
                    </a:cubicBezTo>
                    <a:cubicBezTo>
                      <a:pt x="47" y="275"/>
                      <a:pt x="69" y="259"/>
                      <a:pt x="94" y="259"/>
                    </a:cubicBezTo>
                    <a:cubicBezTo>
                      <a:pt x="118" y="259"/>
                      <a:pt x="140" y="275"/>
                      <a:pt x="147" y="299"/>
                    </a:cubicBezTo>
                    <a:cubicBezTo>
                      <a:pt x="148" y="302"/>
                      <a:pt x="151" y="305"/>
                      <a:pt x="155" y="305"/>
                    </a:cubicBezTo>
                    <a:cubicBezTo>
                      <a:pt x="155" y="305"/>
                      <a:pt x="155" y="305"/>
                      <a:pt x="231" y="305"/>
                    </a:cubicBezTo>
                    <a:cubicBezTo>
                      <a:pt x="234" y="305"/>
                      <a:pt x="237" y="302"/>
                      <a:pt x="238" y="299"/>
                    </a:cubicBezTo>
                    <a:cubicBezTo>
                      <a:pt x="245" y="275"/>
                      <a:pt x="267" y="259"/>
                      <a:pt x="292" y="259"/>
                    </a:cubicBezTo>
                    <a:cubicBezTo>
                      <a:pt x="316" y="259"/>
                      <a:pt x="338" y="275"/>
                      <a:pt x="345" y="299"/>
                    </a:cubicBezTo>
                    <a:cubicBezTo>
                      <a:pt x="346" y="302"/>
                      <a:pt x="349" y="305"/>
                      <a:pt x="353" y="305"/>
                    </a:cubicBezTo>
                    <a:cubicBezTo>
                      <a:pt x="353" y="305"/>
                      <a:pt x="353" y="305"/>
                      <a:pt x="362" y="305"/>
                    </a:cubicBezTo>
                    <a:cubicBezTo>
                      <a:pt x="375" y="305"/>
                      <a:pt x="386" y="294"/>
                      <a:pt x="386" y="281"/>
                    </a:cubicBezTo>
                    <a:cubicBezTo>
                      <a:pt x="386" y="281"/>
                      <a:pt x="386" y="281"/>
                      <a:pt x="386" y="234"/>
                    </a:cubicBezTo>
                    <a:cubicBezTo>
                      <a:pt x="386" y="217"/>
                      <a:pt x="380" y="200"/>
                      <a:pt x="370" y="186"/>
                    </a:cubicBezTo>
                    <a:cubicBezTo>
                      <a:pt x="370" y="186"/>
                      <a:pt x="370" y="186"/>
                      <a:pt x="340" y="144"/>
                    </a:cubicBezTo>
                    <a:close/>
                    <a:moveTo>
                      <a:pt x="15" y="24"/>
                    </a:moveTo>
                    <a:cubicBezTo>
                      <a:pt x="15" y="19"/>
                      <a:pt x="19" y="16"/>
                      <a:pt x="23" y="16"/>
                    </a:cubicBezTo>
                    <a:cubicBezTo>
                      <a:pt x="231" y="16"/>
                      <a:pt x="231" y="16"/>
                      <a:pt x="231" y="16"/>
                    </a:cubicBezTo>
                    <a:cubicBezTo>
                      <a:pt x="235" y="16"/>
                      <a:pt x="239" y="19"/>
                      <a:pt x="239" y="24"/>
                    </a:cubicBezTo>
                    <a:cubicBezTo>
                      <a:pt x="239" y="24"/>
                      <a:pt x="239" y="24"/>
                      <a:pt x="239" y="188"/>
                    </a:cubicBezTo>
                    <a:cubicBezTo>
                      <a:pt x="239" y="192"/>
                      <a:pt x="235" y="196"/>
                      <a:pt x="231" y="196"/>
                    </a:cubicBezTo>
                    <a:cubicBezTo>
                      <a:pt x="231" y="196"/>
                      <a:pt x="231" y="196"/>
                      <a:pt x="23" y="196"/>
                    </a:cubicBezTo>
                    <a:cubicBezTo>
                      <a:pt x="19" y="196"/>
                      <a:pt x="15" y="192"/>
                      <a:pt x="15" y="188"/>
                    </a:cubicBezTo>
                    <a:cubicBezTo>
                      <a:pt x="15" y="188"/>
                      <a:pt x="15" y="188"/>
                      <a:pt x="15" y="24"/>
                    </a:cubicBezTo>
                    <a:close/>
                    <a:moveTo>
                      <a:pt x="370" y="281"/>
                    </a:moveTo>
                    <a:cubicBezTo>
                      <a:pt x="370" y="285"/>
                      <a:pt x="366" y="289"/>
                      <a:pt x="362" y="289"/>
                    </a:cubicBezTo>
                    <a:cubicBezTo>
                      <a:pt x="362" y="289"/>
                      <a:pt x="362" y="289"/>
                      <a:pt x="358" y="289"/>
                    </a:cubicBezTo>
                    <a:cubicBezTo>
                      <a:pt x="348" y="261"/>
                      <a:pt x="321" y="243"/>
                      <a:pt x="292" y="243"/>
                    </a:cubicBezTo>
                    <a:cubicBezTo>
                      <a:pt x="262" y="243"/>
                      <a:pt x="235" y="261"/>
                      <a:pt x="225" y="289"/>
                    </a:cubicBezTo>
                    <a:cubicBezTo>
                      <a:pt x="225" y="289"/>
                      <a:pt x="225" y="289"/>
                      <a:pt x="160" y="289"/>
                    </a:cubicBezTo>
                    <a:cubicBezTo>
                      <a:pt x="150" y="261"/>
                      <a:pt x="123" y="243"/>
                      <a:pt x="94" y="243"/>
                    </a:cubicBezTo>
                    <a:cubicBezTo>
                      <a:pt x="64" y="243"/>
                      <a:pt x="37" y="261"/>
                      <a:pt x="27" y="289"/>
                    </a:cubicBezTo>
                    <a:cubicBezTo>
                      <a:pt x="27" y="289"/>
                      <a:pt x="27" y="289"/>
                      <a:pt x="23" y="289"/>
                    </a:cubicBezTo>
                    <a:cubicBezTo>
                      <a:pt x="19" y="289"/>
                      <a:pt x="15" y="285"/>
                      <a:pt x="15" y="281"/>
                    </a:cubicBezTo>
                    <a:cubicBezTo>
                      <a:pt x="15" y="281"/>
                      <a:pt x="15" y="281"/>
                      <a:pt x="15" y="212"/>
                    </a:cubicBezTo>
                    <a:cubicBezTo>
                      <a:pt x="18" y="213"/>
                      <a:pt x="21" y="213"/>
                      <a:pt x="23" y="213"/>
                    </a:cubicBezTo>
                    <a:cubicBezTo>
                      <a:pt x="23" y="213"/>
                      <a:pt x="23" y="213"/>
                      <a:pt x="231" y="213"/>
                    </a:cubicBezTo>
                    <a:cubicBezTo>
                      <a:pt x="244" y="213"/>
                      <a:pt x="255" y="203"/>
                      <a:pt x="255" y="190"/>
                    </a:cubicBezTo>
                    <a:cubicBezTo>
                      <a:pt x="255" y="190"/>
                      <a:pt x="255" y="190"/>
                      <a:pt x="255" y="142"/>
                    </a:cubicBezTo>
                    <a:cubicBezTo>
                      <a:pt x="255" y="142"/>
                      <a:pt x="255" y="142"/>
                      <a:pt x="305" y="141"/>
                    </a:cubicBezTo>
                    <a:cubicBezTo>
                      <a:pt x="311" y="141"/>
                      <a:pt x="324" y="148"/>
                      <a:pt x="328" y="154"/>
                    </a:cubicBezTo>
                    <a:cubicBezTo>
                      <a:pt x="328" y="154"/>
                      <a:pt x="328" y="154"/>
                      <a:pt x="357" y="195"/>
                    </a:cubicBezTo>
                    <a:cubicBezTo>
                      <a:pt x="365" y="206"/>
                      <a:pt x="370" y="220"/>
                      <a:pt x="370" y="234"/>
                    </a:cubicBezTo>
                    <a:cubicBezTo>
                      <a:pt x="370" y="234"/>
                      <a:pt x="370" y="234"/>
                      <a:pt x="370" y="281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Freeform 69">
                <a:extLst>
                  <a:ext uri="{FF2B5EF4-FFF2-40B4-BE49-F238E27FC236}">
                    <a16:creationId xmlns:a16="http://schemas.microsoft.com/office/drawing/2014/main" id="{9C5D4879-D73D-C44D-B379-54BA10CCC0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07625" y="6126163"/>
                <a:ext cx="187325" cy="185738"/>
              </a:xfrm>
              <a:custGeom>
                <a:avLst/>
                <a:gdLst>
                  <a:gd name="T0" fmla="*/ 41 w 81"/>
                  <a:gd name="T1" fmla="*/ 0 h 81"/>
                  <a:gd name="T2" fmla="*/ 0 w 81"/>
                  <a:gd name="T3" fmla="*/ 40 h 81"/>
                  <a:gd name="T4" fmla="*/ 41 w 81"/>
                  <a:gd name="T5" fmla="*/ 81 h 81"/>
                  <a:gd name="T6" fmla="*/ 81 w 81"/>
                  <a:gd name="T7" fmla="*/ 40 h 81"/>
                  <a:gd name="T8" fmla="*/ 41 w 81"/>
                  <a:gd name="T9" fmla="*/ 0 h 81"/>
                  <a:gd name="T10" fmla="*/ 41 w 81"/>
                  <a:gd name="T11" fmla="*/ 65 h 81"/>
                  <a:gd name="T12" fmla="*/ 16 w 81"/>
                  <a:gd name="T13" fmla="*/ 40 h 81"/>
                  <a:gd name="T14" fmla="*/ 41 w 81"/>
                  <a:gd name="T15" fmla="*/ 15 h 81"/>
                  <a:gd name="T16" fmla="*/ 66 w 81"/>
                  <a:gd name="T17" fmla="*/ 40 h 81"/>
                  <a:gd name="T18" fmla="*/ 41 w 81"/>
                  <a:gd name="T19" fmla="*/ 6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1">
                    <a:moveTo>
                      <a:pt x="41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3"/>
                      <a:pt x="18" y="81"/>
                      <a:pt x="41" y="81"/>
                    </a:cubicBezTo>
                    <a:cubicBezTo>
                      <a:pt x="63" y="81"/>
                      <a:pt x="81" y="63"/>
                      <a:pt x="81" y="40"/>
                    </a:cubicBezTo>
                    <a:cubicBezTo>
                      <a:pt x="81" y="18"/>
                      <a:pt x="63" y="0"/>
                      <a:pt x="41" y="0"/>
                    </a:cubicBezTo>
                    <a:close/>
                    <a:moveTo>
                      <a:pt x="41" y="65"/>
                    </a:moveTo>
                    <a:cubicBezTo>
                      <a:pt x="27" y="65"/>
                      <a:pt x="16" y="54"/>
                      <a:pt x="16" y="40"/>
                    </a:cubicBezTo>
                    <a:cubicBezTo>
                      <a:pt x="16" y="27"/>
                      <a:pt x="27" y="15"/>
                      <a:pt x="41" y="15"/>
                    </a:cubicBezTo>
                    <a:cubicBezTo>
                      <a:pt x="54" y="15"/>
                      <a:pt x="66" y="27"/>
                      <a:pt x="66" y="40"/>
                    </a:cubicBezTo>
                    <a:cubicBezTo>
                      <a:pt x="66" y="54"/>
                      <a:pt x="54" y="65"/>
                      <a:pt x="41" y="6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Freeform 70">
                <a:extLst>
                  <a:ext uri="{FF2B5EF4-FFF2-40B4-BE49-F238E27FC236}">
                    <a16:creationId xmlns:a16="http://schemas.microsoft.com/office/drawing/2014/main" id="{D187495A-4536-BF44-B20A-BF6B9E9993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53600" y="6126163"/>
                <a:ext cx="185738" cy="185738"/>
              </a:xfrm>
              <a:custGeom>
                <a:avLst/>
                <a:gdLst>
                  <a:gd name="T0" fmla="*/ 41 w 81"/>
                  <a:gd name="T1" fmla="*/ 0 h 81"/>
                  <a:gd name="T2" fmla="*/ 0 w 81"/>
                  <a:gd name="T3" fmla="*/ 40 h 81"/>
                  <a:gd name="T4" fmla="*/ 41 w 81"/>
                  <a:gd name="T5" fmla="*/ 81 h 81"/>
                  <a:gd name="T6" fmla="*/ 81 w 81"/>
                  <a:gd name="T7" fmla="*/ 40 h 81"/>
                  <a:gd name="T8" fmla="*/ 41 w 81"/>
                  <a:gd name="T9" fmla="*/ 0 h 81"/>
                  <a:gd name="T10" fmla="*/ 41 w 81"/>
                  <a:gd name="T11" fmla="*/ 65 h 81"/>
                  <a:gd name="T12" fmla="*/ 16 w 81"/>
                  <a:gd name="T13" fmla="*/ 40 h 81"/>
                  <a:gd name="T14" fmla="*/ 41 w 81"/>
                  <a:gd name="T15" fmla="*/ 15 h 81"/>
                  <a:gd name="T16" fmla="*/ 65 w 81"/>
                  <a:gd name="T17" fmla="*/ 40 h 81"/>
                  <a:gd name="T18" fmla="*/ 41 w 81"/>
                  <a:gd name="T19" fmla="*/ 6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1">
                    <a:moveTo>
                      <a:pt x="41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3"/>
                      <a:pt x="18" y="81"/>
                      <a:pt x="41" y="81"/>
                    </a:cubicBezTo>
                    <a:cubicBezTo>
                      <a:pt x="63" y="81"/>
                      <a:pt x="81" y="63"/>
                      <a:pt x="81" y="40"/>
                    </a:cubicBezTo>
                    <a:cubicBezTo>
                      <a:pt x="81" y="18"/>
                      <a:pt x="63" y="0"/>
                      <a:pt x="41" y="0"/>
                    </a:cubicBezTo>
                    <a:close/>
                    <a:moveTo>
                      <a:pt x="41" y="65"/>
                    </a:moveTo>
                    <a:cubicBezTo>
                      <a:pt x="27" y="65"/>
                      <a:pt x="16" y="54"/>
                      <a:pt x="16" y="40"/>
                    </a:cubicBezTo>
                    <a:cubicBezTo>
                      <a:pt x="16" y="27"/>
                      <a:pt x="27" y="15"/>
                      <a:pt x="41" y="15"/>
                    </a:cubicBezTo>
                    <a:cubicBezTo>
                      <a:pt x="54" y="15"/>
                      <a:pt x="65" y="27"/>
                      <a:pt x="65" y="40"/>
                    </a:cubicBezTo>
                    <a:cubicBezTo>
                      <a:pt x="65" y="54"/>
                      <a:pt x="54" y="65"/>
                      <a:pt x="41" y="6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97" name="Grupp 96">
              <a:extLst>
                <a:ext uri="{FF2B5EF4-FFF2-40B4-BE49-F238E27FC236}">
                  <a16:creationId xmlns:a16="http://schemas.microsoft.com/office/drawing/2014/main" id="{EBEB51C6-E37B-FF4A-B6E7-838485135611}"/>
                </a:ext>
              </a:extLst>
            </p:cNvPr>
            <p:cNvGrpSpPr/>
            <p:nvPr/>
          </p:nvGrpSpPr>
          <p:grpSpPr>
            <a:xfrm>
              <a:off x="7319981" y="3648206"/>
              <a:ext cx="298630" cy="291139"/>
              <a:chOff x="1643063" y="5450070"/>
              <a:chExt cx="885825" cy="863604"/>
            </a:xfrm>
          </p:grpSpPr>
          <p:sp>
            <p:nvSpPr>
              <p:cNvPr id="98" name="Freeform 78">
                <a:extLst>
                  <a:ext uri="{FF2B5EF4-FFF2-40B4-BE49-F238E27FC236}">
                    <a16:creationId xmlns:a16="http://schemas.microsoft.com/office/drawing/2014/main" id="{8252C3C0-B21C-7248-AE49-5D93F2E3C5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3063" y="5524685"/>
                <a:ext cx="679450" cy="788989"/>
              </a:xfrm>
              <a:custGeom>
                <a:avLst/>
                <a:gdLst>
                  <a:gd name="T0" fmla="*/ 201 w 286"/>
                  <a:gd name="T1" fmla="*/ 190 h 332"/>
                  <a:gd name="T2" fmla="*/ 200 w 286"/>
                  <a:gd name="T3" fmla="*/ 190 h 332"/>
                  <a:gd name="T4" fmla="*/ 174 w 286"/>
                  <a:gd name="T5" fmla="*/ 163 h 332"/>
                  <a:gd name="T6" fmla="*/ 174 w 286"/>
                  <a:gd name="T7" fmla="*/ 111 h 332"/>
                  <a:gd name="T8" fmla="*/ 174 w 286"/>
                  <a:gd name="T9" fmla="*/ 8 h 332"/>
                  <a:gd name="T10" fmla="*/ 172 w 286"/>
                  <a:gd name="T11" fmla="*/ 2 h 332"/>
                  <a:gd name="T12" fmla="*/ 166 w 286"/>
                  <a:gd name="T13" fmla="*/ 0 h 332"/>
                  <a:gd name="T14" fmla="*/ 0 w 286"/>
                  <a:gd name="T15" fmla="*/ 166 h 332"/>
                  <a:gd name="T16" fmla="*/ 6 w 286"/>
                  <a:gd name="T17" fmla="*/ 209 h 332"/>
                  <a:gd name="T18" fmla="*/ 23 w 286"/>
                  <a:gd name="T19" fmla="*/ 250 h 332"/>
                  <a:gd name="T20" fmla="*/ 24 w 286"/>
                  <a:gd name="T21" fmla="*/ 252 h 332"/>
                  <a:gd name="T22" fmla="*/ 49 w 286"/>
                  <a:gd name="T23" fmla="*/ 283 h 332"/>
                  <a:gd name="T24" fmla="*/ 49 w 286"/>
                  <a:gd name="T25" fmla="*/ 284 h 332"/>
                  <a:gd name="T26" fmla="*/ 50 w 286"/>
                  <a:gd name="T27" fmla="*/ 285 h 332"/>
                  <a:gd name="T28" fmla="*/ 82 w 286"/>
                  <a:gd name="T29" fmla="*/ 309 h 332"/>
                  <a:gd name="T30" fmla="*/ 84 w 286"/>
                  <a:gd name="T31" fmla="*/ 310 h 332"/>
                  <a:gd name="T32" fmla="*/ 125 w 286"/>
                  <a:gd name="T33" fmla="*/ 327 h 332"/>
                  <a:gd name="T34" fmla="*/ 126 w 286"/>
                  <a:gd name="T35" fmla="*/ 327 h 332"/>
                  <a:gd name="T36" fmla="*/ 166 w 286"/>
                  <a:gd name="T37" fmla="*/ 332 h 332"/>
                  <a:gd name="T38" fmla="*/ 283 w 286"/>
                  <a:gd name="T39" fmla="*/ 284 h 332"/>
                  <a:gd name="T40" fmla="*/ 286 w 286"/>
                  <a:gd name="T41" fmla="*/ 279 h 332"/>
                  <a:gd name="T42" fmla="*/ 283 w 286"/>
                  <a:gd name="T43" fmla="*/ 273 h 332"/>
                  <a:gd name="T44" fmla="*/ 201 w 286"/>
                  <a:gd name="T45" fmla="*/ 190 h 332"/>
                  <a:gd name="T46" fmla="*/ 134 w 286"/>
                  <a:gd name="T47" fmla="*/ 19 h 332"/>
                  <a:gd name="T48" fmla="*/ 19 w 286"/>
                  <a:gd name="T49" fmla="*/ 134 h 332"/>
                  <a:gd name="T50" fmla="*/ 134 w 286"/>
                  <a:gd name="T51" fmla="*/ 19 h 332"/>
                  <a:gd name="T52" fmla="*/ 16 w 286"/>
                  <a:gd name="T53" fmla="*/ 166 h 332"/>
                  <a:gd name="T54" fmla="*/ 16 w 286"/>
                  <a:gd name="T55" fmla="*/ 159 h 332"/>
                  <a:gd name="T56" fmla="*/ 159 w 286"/>
                  <a:gd name="T57" fmla="*/ 16 h 332"/>
                  <a:gd name="T58" fmla="*/ 159 w 286"/>
                  <a:gd name="T59" fmla="*/ 51 h 332"/>
                  <a:gd name="T60" fmla="*/ 18 w 286"/>
                  <a:gd name="T61" fmla="*/ 192 h 332"/>
                  <a:gd name="T62" fmla="*/ 16 w 286"/>
                  <a:gd name="T63" fmla="*/ 166 h 332"/>
                  <a:gd name="T64" fmla="*/ 22 w 286"/>
                  <a:gd name="T65" fmla="*/ 209 h 332"/>
                  <a:gd name="T66" fmla="*/ 159 w 286"/>
                  <a:gd name="T67" fmla="*/ 72 h 332"/>
                  <a:gd name="T68" fmla="*/ 159 w 286"/>
                  <a:gd name="T69" fmla="*/ 108 h 332"/>
                  <a:gd name="T70" fmla="*/ 32 w 286"/>
                  <a:gd name="T71" fmla="*/ 234 h 332"/>
                  <a:gd name="T72" fmla="*/ 22 w 286"/>
                  <a:gd name="T73" fmla="*/ 209 h 332"/>
                  <a:gd name="T74" fmla="*/ 40 w 286"/>
                  <a:gd name="T75" fmla="*/ 248 h 332"/>
                  <a:gd name="T76" fmla="*/ 159 w 286"/>
                  <a:gd name="T77" fmla="*/ 129 h 332"/>
                  <a:gd name="T78" fmla="*/ 159 w 286"/>
                  <a:gd name="T79" fmla="*/ 164 h 332"/>
                  <a:gd name="T80" fmla="*/ 55 w 286"/>
                  <a:gd name="T81" fmla="*/ 268 h 332"/>
                  <a:gd name="T82" fmla="*/ 40 w 286"/>
                  <a:gd name="T83" fmla="*/ 248 h 332"/>
                  <a:gd name="T84" fmla="*/ 66 w 286"/>
                  <a:gd name="T85" fmla="*/ 279 h 332"/>
                  <a:gd name="T86" fmla="*/ 167 w 286"/>
                  <a:gd name="T87" fmla="*/ 178 h 332"/>
                  <a:gd name="T88" fmla="*/ 184 w 286"/>
                  <a:gd name="T89" fmla="*/ 195 h 332"/>
                  <a:gd name="T90" fmla="*/ 86 w 286"/>
                  <a:gd name="T91" fmla="*/ 294 h 332"/>
                  <a:gd name="T92" fmla="*/ 66 w 286"/>
                  <a:gd name="T93" fmla="*/ 279 h 332"/>
                  <a:gd name="T94" fmla="*/ 125 w 286"/>
                  <a:gd name="T95" fmla="*/ 311 h 332"/>
                  <a:gd name="T96" fmla="*/ 100 w 286"/>
                  <a:gd name="T97" fmla="*/ 301 h 332"/>
                  <a:gd name="T98" fmla="*/ 195 w 286"/>
                  <a:gd name="T99" fmla="*/ 206 h 332"/>
                  <a:gd name="T100" fmla="*/ 213 w 286"/>
                  <a:gd name="T101" fmla="*/ 224 h 332"/>
                  <a:gd name="T102" fmla="*/ 125 w 286"/>
                  <a:gd name="T103" fmla="*/ 311 h 332"/>
                  <a:gd name="T104" fmla="*/ 143 w 286"/>
                  <a:gd name="T105" fmla="*/ 315 h 332"/>
                  <a:gd name="T106" fmla="*/ 223 w 286"/>
                  <a:gd name="T107" fmla="*/ 234 h 332"/>
                  <a:gd name="T108" fmla="*/ 241 w 286"/>
                  <a:gd name="T109" fmla="*/ 252 h 332"/>
                  <a:gd name="T110" fmla="*/ 176 w 286"/>
                  <a:gd name="T111" fmla="*/ 317 h 332"/>
                  <a:gd name="T112" fmla="*/ 143 w 286"/>
                  <a:gd name="T113" fmla="*/ 315 h 332"/>
                  <a:gd name="T114" fmla="*/ 201 w 286"/>
                  <a:gd name="T115" fmla="*/ 313 h 332"/>
                  <a:gd name="T116" fmla="*/ 252 w 286"/>
                  <a:gd name="T117" fmla="*/ 263 h 332"/>
                  <a:gd name="T118" fmla="*/ 267 w 286"/>
                  <a:gd name="T119" fmla="*/ 278 h 332"/>
                  <a:gd name="T120" fmla="*/ 201 w 286"/>
                  <a:gd name="T121" fmla="*/ 3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6" h="332">
                    <a:moveTo>
                      <a:pt x="201" y="190"/>
                    </a:moveTo>
                    <a:cubicBezTo>
                      <a:pt x="201" y="190"/>
                      <a:pt x="201" y="190"/>
                      <a:pt x="200" y="190"/>
                    </a:cubicBezTo>
                    <a:cubicBezTo>
                      <a:pt x="200" y="190"/>
                      <a:pt x="200" y="190"/>
                      <a:pt x="174" y="163"/>
                    </a:cubicBezTo>
                    <a:cubicBezTo>
                      <a:pt x="174" y="163"/>
                      <a:pt x="174" y="163"/>
                      <a:pt x="174" y="111"/>
                    </a:cubicBezTo>
                    <a:cubicBezTo>
                      <a:pt x="174" y="111"/>
                      <a:pt x="174" y="111"/>
                      <a:pt x="174" y="8"/>
                    </a:cubicBezTo>
                    <a:cubicBezTo>
                      <a:pt x="174" y="6"/>
                      <a:pt x="173" y="4"/>
                      <a:pt x="172" y="2"/>
                    </a:cubicBezTo>
                    <a:cubicBezTo>
                      <a:pt x="170" y="1"/>
                      <a:pt x="168" y="0"/>
                      <a:pt x="166" y="0"/>
                    </a:cubicBezTo>
                    <a:cubicBezTo>
                      <a:pt x="75" y="0"/>
                      <a:pt x="0" y="75"/>
                      <a:pt x="0" y="166"/>
                    </a:cubicBezTo>
                    <a:cubicBezTo>
                      <a:pt x="0" y="181"/>
                      <a:pt x="2" y="195"/>
                      <a:pt x="6" y="209"/>
                    </a:cubicBezTo>
                    <a:cubicBezTo>
                      <a:pt x="10" y="224"/>
                      <a:pt x="16" y="237"/>
                      <a:pt x="23" y="250"/>
                    </a:cubicBezTo>
                    <a:cubicBezTo>
                      <a:pt x="23" y="251"/>
                      <a:pt x="24" y="251"/>
                      <a:pt x="24" y="252"/>
                    </a:cubicBezTo>
                    <a:cubicBezTo>
                      <a:pt x="31" y="263"/>
                      <a:pt x="39" y="274"/>
                      <a:pt x="49" y="283"/>
                    </a:cubicBezTo>
                    <a:cubicBezTo>
                      <a:pt x="49" y="284"/>
                      <a:pt x="49" y="284"/>
                      <a:pt x="49" y="284"/>
                    </a:cubicBezTo>
                    <a:cubicBezTo>
                      <a:pt x="50" y="284"/>
                      <a:pt x="50" y="285"/>
                      <a:pt x="50" y="285"/>
                    </a:cubicBezTo>
                    <a:cubicBezTo>
                      <a:pt x="60" y="294"/>
                      <a:pt x="71" y="303"/>
                      <a:pt x="82" y="309"/>
                    </a:cubicBezTo>
                    <a:cubicBezTo>
                      <a:pt x="83" y="310"/>
                      <a:pt x="83" y="310"/>
                      <a:pt x="84" y="310"/>
                    </a:cubicBezTo>
                    <a:cubicBezTo>
                      <a:pt x="97" y="318"/>
                      <a:pt x="110" y="323"/>
                      <a:pt x="125" y="327"/>
                    </a:cubicBezTo>
                    <a:cubicBezTo>
                      <a:pt x="125" y="327"/>
                      <a:pt x="125" y="327"/>
                      <a:pt x="126" y="327"/>
                    </a:cubicBezTo>
                    <a:cubicBezTo>
                      <a:pt x="139" y="331"/>
                      <a:pt x="152" y="332"/>
                      <a:pt x="166" y="332"/>
                    </a:cubicBezTo>
                    <a:cubicBezTo>
                      <a:pt x="211" y="332"/>
                      <a:pt x="252" y="315"/>
                      <a:pt x="283" y="284"/>
                    </a:cubicBezTo>
                    <a:cubicBezTo>
                      <a:pt x="285" y="283"/>
                      <a:pt x="286" y="281"/>
                      <a:pt x="286" y="279"/>
                    </a:cubicBezTo>
                    <a:cubicBezTo>
                      <a:pt x="286" y="277"/>
                      <a:pt x="285" y="275"/>
                      <a:pt x="283" y="273"/>
                    </a:cubicBezTo>
                    <a:cubicBezTo>
                      <a:pt x="283" y="273"/>
                      <a:pt x="283" y="273"/>
                      <a:pt x="201" y="190"/>
                    </a:cubicBezTo>
                    <a:close/>
                    <a:moveTo>
                      <a:pt x="134" y="19"/>
                    </a:moveTo>
                    <a:cubicBezTo>
                      <a:pt x="19" y="134"/>
                      <a:pt x="19" y="134"/>
                      <a:pt x="19" y="134"/>
                    </a:cubicBezTo>
                    <a:cubicBezTo>
                      <a:pt x="32" y="77"/>
                      <a:pt x="77" y="31"/>
                      <a:pt x="134" y="19"/>
                    </a:cubicBezTo>
                    <a:close/>
                    <a:moveTo>
                      <a:pt x="16" y="166"/>
                    </a:moveTo>
                    <a:cubicBezTo>
                      <a:pt x="16" y="164"/>
                      <a:pt x="16" y="161"/>
                      <a:pt x="16" y="159"/>
                    </a:cubicBezTo>
                    <a:cubicBezTo>
                      <a:pt x="159" y="16"/>
                      <a:pt x="159" y="16"/>
                      <a:pt x="159" y="16"/>
                    </a:cubicBezTo>
                    <a:cubicBezTo>
                      <a:pt x="159" y="16"/>
                      <a:pt x="159" y="16"/>
                      <a:pt x="159" y="51"/>
                    </a:cubicBezTo>
                    <a:cubicBezTo>
                      <a:pt x="159" y="51"/>
                      <a:pt x="159" y="51"/>
                      <a:pt x="18" y="192"/>
                    </a:cubicBezTo>
                    <a:cubicBezTo>
                      <a:pt x="16" y="184"/>
                      <a:pt x="16" y="175"/>
                      <a:pt x="16" y="166"/>
                    </a:cubicBezTo>
                    <a:close/>
                    <a:moveTo>
                      <a:pt x="22" y="209"/>
                    </a:moveTo>
                    <a:cubicBezTo>
                      <a:pt x="159" y="72"/>
                      <a:pt x="159" y="72"/>
                      <a:pt x="159" y="72"/>
                    </a:cubicBezTo>
                    <a:cubicBezTo>
                      <a:pt x="159" y="72"/>
                      <a:pt x="159" y="72"/>
                      <a:pt x="159" y="108"/>
                    </a:cubicBezTo>
                    <a:cubicBezTo>
                      <a:pt x="159" y="108"/>
                      <a:pt x="159" y="108"/>
                      <a:pt x="32" y="234"/>
                    </a:cubicBezTo>
                    <a:cubicBezTo>
                      <a:pt x="28" y="226"/>
                      <a:pt x="24" y="218"/>
                      <a:pt x="22" y="209"/>
                    </a:cubicBezTo>
                    <a:close/>
                    <a:moveTo>
                      <a:pt x="40" y="248"/>
                    </a:moveTo>
                    <a:cubicBezTo>
                      <a:pt x="159" y="129"/>
                      <a:pt x="159" y="129"/>
                      <a:pt x="159" y="129"/>
                    </a:cubicBezTo>
                    <a:cubicBezTo>
                      <a:pt x="159" y="129"/>
                      <a:pt x="159" y="129"/>
                      <a:pt x="159" y="164"/>
                    </a:cubicBezTo>
                    <a:cubicBezTo>
                      <a:pt x="159" y="164"/>
                      <a:pt x="159" y="164"/>
                      <a:pt x="55" y="268"/>
                    </a:cubicBezTo>
                    <a:cubicBezTo>
                      <a:pt x="49" y="262"/>
                      <a:pt x="44" y="255"/>
                      <a:pt x="40" y="248"/>
                    </a:cubicBezTo>
                    <a:close/>
                    <a:moveTo>
                      <a:pt x="66" y="279"/>
                    </a:moveTo>
                    <a:cubicBezTo>
                      <a:pt x="167" y="178"/>
                      <a:pt x="167" y="178"/>
                      <a:pt x="167" y="178"/>
                    </a:cubicBezTo>
                    <a:cubicBezTo>
                      <a:pt x="167" y="178"/>
                      <a:pt x="167" y="178"/>
                      <a:pt x="184" y="195"/>
                    </a:cubicBezTo>
                    <a:cubicBezTo>
                      <a:pt x="184" y="195"/>
                      <a:pt x="184" y="195"/>
                      <a:pt x="86" y="294"/>
                    </a:cubicBezTo>
                    <a:cubicBezTo>
                      <a:pt x="79" y="289"/>
                      <a:pt x="72" y="284"/>
                      <a:pt x="66" y="279"/>
                    </a:cubicBezTo>
                    <a:close/>
                    <a:moveTo>
                      <a:pt x="125" y="311"/>
                    </a:moveTo>
                    <a:cubicBezTo>
                      <a:pt x="116" y="309"/>
                      <a:pt x="108" y="305"/>
                      <a:pt x="100" y="301"/>
                    </a:cubicBezTo>
                    <a:cubicBezTo>
                      <a:pt x="195" y="206"/>
                      <a:pt x="195" y="206"/>
                      <a:pt x="195" y="206"/>
                    </a:cubicBezTo>
                    <a:cubicBezTo>
                      <a:pt x="195" y="206"/>
                      <a:pt x="195" y="206"/>
                      <a:pt x="213" y="224"/>
                    </a:cubicBezTo>
                    <a:cubicBezTo>
                      <a:pt x="213" y="224"/>
                      <a:pt x="213" y="224"/>
                      <a:pt x="125" y="311"/>
                    </a:cubicBezTo>
                    <a:close/>
                    <a:moveTo>
                      <a:pt x="143" y="315"/>
                    </a:moveTo>
                    <a:cubicBezTo>
                      <a:pt x="223" y="234"/>
                      <a:pt x="223" y="234"/>
                      <a:pt x="223" y="234"/>
                    </a:cubicBezTo>
                    <a:cubicBezTo>
                      <a:pt x="223" y="234"/>
                      <a:pt x="223" y="234"/>
                      <a:pt x="241" y="252"/>
                    </a:cubicBezTo>
                    <a:cubicBezTo>
                      <a:pt x="241" y="252"/>
                      <a:pt x="241" y="252"/>
                      <a:pt x="176" y="317"/>
                    </a:cubicBezTo>
                    <a:cubicBezTo>
                      <a:pt x="165" y="317"/>
                      <a:pt x="153" y="317"/>
                      <a:pt x="143" y="315"/>
                    </a:cubicBezTo>
                    <a:close/>
                    <a:moveTo>
                      <a:pt x="201" y="313"/>
                    </a:moveTo>
                    <a:cubicBezTo>
                      <a:pt x="201" y="313"/>
                      <a:pt x="201" y="313"/>
                      <a:pt x="252" y="263"/>
                    </a:cubicBezTo>
                    <a:cubicBezTo>
                      <a:pt x="267" y="278"/>
                      <a:pt x="267" y="278"/>
                      <a:pt x="267" y="278"/>
                    </a:cubicBezTo>
                    <a:cubicBezTo>
                      <a:pt x="248" y="295"/>
                      <a:pt x="226" y="307"/>
                      <a:pt x="201" y="3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Freeform 79">
                <a:extLst>
                  <a:ext uri="{FF2B5EF4-FFF2-40B4-BE49-F238E27FC236}">
                    <a16:creationId xmlns:a16="http://schemas.microsoft.com/office/drawing/2014/main" id="{2989E944-7482-0E4A-AFDC-1DB54960AB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16137" y="5891393"/>
                <a:ext cx="412751" cy="304800"/>
              </a:xfrm>
              <a:custGeom>
                <a:avLst/>
                <a:gdLst>
                  <a:gd name="T0" fmla="*/ 166 w 174"/>
                  <a:gd name="T1" fmla="*/ 0 h 129"/>
                  <a:gd name="T2" fmla="*/ 8 w 174"/>
                  <a:gd name="T3" fmla="*/ 0 h 129"/>
                  <a:gd name="T4" fmla="*/ 2 w 174"/>
                  <a:gd name="T5" fmla="*/ 2 h 129"/>
                  <a:gd name="T6" fmla="*/ 0 w 174"/>
                  <a:gd name="T7" fmla="*/ 8 h 129"/>
                  <a:gd name="T8" fmla="*/ 0 w 174"/>
                  <a:gd name="T9" fmla="*/ 9 h 129"/>
                  <a:gd name="T10" fmla="*/ 2 w 174"/>
                  <a:gd name="T11" fmla="*/ 15 h 129"/>
                  <a:gd name="T12" fmla="*/ 114 w 174"/>
                  <a:gd name="T13" fmla="*/ 127 h 129"/>
                  <a:gd name="T14" fmla="*/ 119 w 174"/>
                  <a:gd name="T15" fmla="*/ 129 h 129"/>
                  <a:gd name="T16" fmla="*/ 125 w 174"/>
                  <a:gd name="T17" fmla="*/ 127 h 129"/>
                  <a:gd name="T18" fmla="*/ 174 w 174"/>
                  <a:gd name="T19" fmla="*/ 9 h 129"/>
                  <a:gd name="T20" fmla="*/ 174 w 174"/>
                  <a:gd name="T21" fmla="*/ 8 h 129"/>
                  <a:gd name="T22" fmla="*/ 166 w 174"/>
                  <a:gd name="T23" fmla="*/ 0 h 129"/>
                  <a:gd name="T24" fmla="*/ 119 w 174"/>
                  <a:gd name="T25" fmla="*/ 111 h 129"/>
                  <a:gd name="T26" fmla="*/ 24 w 174"/>
                  <a:gd name="T27" fmla="*/ 15 h 129"/>
                  <a:gd name="T28" fmla="*/ 158 w 174"/>
                  <a:gd name="T29" fmla="*/ 15 h 129"/>
                  <a:gd name="T30" fmla="*/ 119 w 174"/>
                  <a:gd name="T31" fmla="*/ 11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" h="129">
                    <a:moveTo>
                      <a:pt x="166" y="0"/>
                    </a:moveTo>
                    <a:cubicBezTo>
                      <a:pt x="166" y="0"/>
                      <a:pt x="166" y="0"/>
                      <a:pt x="8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4"/>
                      <a:pt x="0" y="6"/>
                      <a:pt x="0" y="8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0" y="11"/>
                      <a:pt x="1" y="13"/>
                      <a:pt x="2" y="15"/>
                    </a:cubicBezTo>
                    <a:cubicBezTo>
                      <a:pt x="2" y="15"/>
                      <a:pt x="2" y="15"/>
                      <a:pt x="114" y="127"/>
                    </a:cubicBezTo>
                    <a:cubicBezTo>
                      <a:pt x="115" y="128"/>
                      <a:pt x="117" y="129"/>
                      <a:pt x="119" y="129"/>
                    </a:cubicBezTo>
                    <a:cubicBezTo>
                      <a:pt x="121" y="129"/>
                      <a:pt x="123" y="128"/>
                      <a:pt x="125" y="127"/>
                    </a:cubicBezTo>
                    <a:cubicBezTo>
                      <a:pt x="156" y="96"/>
                      <a:pt x="174" y="54"/>
                      <a:pt x="174" y="9"/>
                    </a:cubicBezTo>
                    <a:cubicBezTo>
                      <a:pt x="174" y="9"/>
                      <a:pt x="174" y="9"/>
                      <a:pt x="174" y="8"/>
                    </a:cubicBezTo>
                    <a:cubicBezTo>
                      <a:pt x="174" y="3"/>
                      <a:pt x="170" y="0"/>
                      <a:pt x="166" y="0"/>
                    </a:cubicBezTo>
                    <a:close/>
                    <a:moveTo>
                      <a:pt x="119" y="111"/>
                    </a:moveTo>
                    <a:cubicBezTo>
                      <a:pt x="119" y="111"/>
                      <a:pt x="119" y="111"/>
                      <a:pt x="24" y="15"/>
                    </a:cubicBezTo>
                    <a:cubicBezTo>
                      <a:pt x="158" y="15"/>
                      <a:pt x="158" y="15"/>
                      <a:pt x="158" y="15"/>
                    </a:cubicBezTo>
                    <a:cubicBezTo>
                      <a:pt x="157" y="51"/>
                      <a:pt x="143" y="84"/>
                      <a:pt x="119" y="1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Freeform 80">
                <a:extLst>
                  <a:ext uri="{FF2B5EF4-FFF2-40B4-BE49-F238E27FC236}">
                    <a16:creationId xmlns:a16="http://schemas.microsoft.com/office/drawing/2014/main" id="{F66577D6-E8DB-5E4D-A48B-D9B3065C52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87563" y="5450070"/>
                <a:ext cx="412751" cy="407990"/>
              </a:xfrm>
              <a:custGeom>
                <a:avLst/>
                <a:gdLst>
                  <a:gd name="T0" fmla="*/ 8 w 174"/>
                  <a:gd name="T1" fmla="*/ 0 h 172"/>
                  <a:gd name="T2" fmla="*/ 0 w 174"/>
                  <a:gd name="T3" fmla="*/ 8 h 172"/>
                  <a:gd name="T4" fmla="*/ 0 w 174"/>
                  <a:gd name="T5" fmla="*/ 164 h 172"/>
                  <a:gd name="T6" fmla="*/ 8 w 174"/>
                  <a:gd name="T7" fmla="*/ 172 h 172"/>
                  <a:gd name="T8" fmla="*/ 166 w 174"/>
                  <a:gd name="T9" fmla="*/ 172 h 172"/>
                  <a:gd name="T10" fmla="*/ 171 w 174"/>
                  <a:gd name="T11" fmla="*/ 170 h 172"/>
                  <a:gd name="T12" fmla="*/ 174 w 174"/>
                  <a:gd name="T13" fmla="*/ 164 h 172"/>
                  <a:gd name="T14" fmla="*/ 8 w 174"/>
                  <a:gd name="T15" fmla="*/ 0 h 172"/>
                  <a:gd name="T16" fmla="*/ 15 w 174"/>
                  <a:gd name="T17" fmla="*/ 157 h 172"/>
                  <a:gd name="T18" fmla="*/ 15 w 174"/>
                  <a:gd name="T19" fmla="*/ 15 h 172"/>
                  <a:gd name="T20" fmla="*/ 158 w 174"/>
                  <a:gd name="T21" fmla="*/ 157 h 172"/>
                  <a:gd name="T22" fmla="*/ 15 w 174"/>
                  <a:gd name="T23" fmla="*/ 157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4" h="172">
                    <a:moveTo>
                      <a:pt x="8" y="0"/>
                    </a:moveTo>
                    <a:cubicBezTo>
                      <a:pt x="3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164"/>
                    </a:cubicBezTo>
                    <a:cubicBezTo>
                      <a:pt x="0" y="169"/>
                      <a:pt x="3" y="172"/>
                      <a:pt x="8" y="172"/>
                    </a:cubicBezTo>
                    <a:cubicBezTo>
                      <a:pt x="8" y="172"/>
                      <a:pt x="8" y="172"/>
                      <a:pt x="166" y="172"/>
                    </a:cubicBezTo>
                    <a:cubicBezTo>
                      <a:pt x="168" y="172"/>
                      <a:pt x="170" y="171"/>
                      <a:pt x="171" y="170"/>
                    </a:cubicBezTo>
                    <a:cubicBezTo>
                      <a:pt x="173" y="168"/>
                      <a:pt x="174" y="166"/>
                      <a:pt x="174" y="164"/>
                    </a:cubicBezTo>
                    <a:cubicBezTo>
                      <a:pt x="173" y="74"/>
                      <a:pt x="98" y="0"/>
                      <a:pt x="8" y="0"/>
                    </a:cubicBezTo>
                    <a:close/>
                    <a:moveTo>
                      <a:pt x="15" y="157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92" y="19"/>
                      <a:pt x="154" y="81"/>
                      <a:pt x="158" y="157"/>
                    </a:cubicBezTo>
                    <a:cubicBezTo>
                      <a:pt x="158" y="157"/>
                      <a:pt x="158" y="157"/>
                      <a:pt x="15" y="15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09" name="Grupp 108">
              <a:extLst>
                <a:ext uri="{FF2B5EF4-FFF2-40B4-BE49-F238E27FC236}">
                  <a16:creationId xmlns:a16="http://schemas.microsoft.com/office/drawing/2014/main" id="{CB861F30-E379-DC4E-8525-7FC213FC0F51}"/>
                </a:ext>
              </a:extLst>
            </p:cNvPr>
            <p:cNvGrpSpPr/>
            <p:nvPr/>
          </p:nvGrpSpPr>
          <p:grpSpPr>
            <a:xfrm rot="8311399">
              <a:off x="7851360" y="3939894"/>
              <a:ext cx="134346" cy="133751"/>
              <a:chOff x="8243888" y="1241426"/>
              <a:chExt cx="358775" cy="357187"/>
            </a:xfrm>
          </p:grpSpPr>
          <p:sp>
            <p:nvSpPr>
              <p:cNvPr id="110" name="Freeform 15">
                <a:extLst>
                  <a:ext uri="{FF2B5EF4-FFF2-40B4-BE49-F238E27FC236}">
                    <a16:creationId xmlns:a16="http://schemas.microsoft.com/office/drawing/2014/main" id="{2C11E174-191D-3241-B432-C8EEBC8DE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3888" y="1243013"/>
                <a:ext cx="354013" cy="355600"/>
              </a:xfrm>
              <a:custGeom>
                <a:avLst/>
                <a:gdLst>
                  <a:gd name="T0" fmla="*/ 107 w 154"/>
                  <a:gd name="T1" fmla="*/ 153 h 155"/>
                  <a:gd name="T2" fmla="*/ 127 w 154"/>
                  <a:gd name="T3" fmla="*/ 155 h 155"/>
                  <a:gd name="T4" fmla="*/ 147 w 154"/>
                  <a:gd name="T5" fmla="*/ 153 h 155"/>
                  <a:gd name="T6" fmla="*/ 154 w 154"/>
                  <a:gd name="T7" fmla="*/ 144 h 155"/>
                  <a:gd name="T8" fmla="*/ 145 w 154"/>
                  <a:gd name="T9" fmla="*/ 137 h 155"/>
                  <a:gd name="T10" fmla="*/ 109 w 154"/>
                  <a:gd name="T11" fmla="*/ 137 h 155"/>
                  <a:gd name="T12" fmla="*/ 18 w 154"/>
                  <a:gd name="T13" fmla="*/ 44 h 155"/>
                  <a:gd name="T14" fmla="*/ 18 w 154"/>
                  <a:gd name="T15" fmla="*/ 10 h 155"/>
                  <a:gd name="T16" fmla="*/ 11 w 154"/>
                  <a:gd name="T17" fmla="*/ 1 h 155"/>
                  <a:gd name="T18" fmla="*/ 2 w 154"/>
                  <a:gd name="T19" fmla="*/ 8 h 155"/>
                  <a:gd name="T20" fmla="*/ 2 w 154"/>
                  <a:gd name="T21" fmla="*/ 46 h 155"/>
                  <a:gd name="T22" fmla="*/ 107 w 154"/>
                  <a:gd name="T23" fmla="*/ 153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4" h="155">
                    <a:moveTo>
                      <a:pt x="107" y="153"/>
                    </a:moveTo>
                    <a:cubicBezTo>
                      <a:pt x="113" y="154"/>
                      <a:pt x="120" y="155"/>
                      <a:pt x="127" y="155"/>
                    </a:cubicBezTo>
                    <a:cubicBezTo>
                      <a:pt x="133" y="155"/>
                      <a:pt x="140" y="154"/>
                      <a:pt x="147" y="153"/>
                    </a:cubicBezTo>
                    <a:cubicBezTo>
                      <a:pt x="152" y="152"/>
                      <a:pt x="154" y="148"/>
                      <a:pt x="154" y="144"/>
                    </a:cubicBezTo>
                    <a:cubicBezTo>
                      <a:pt x="153" y="139"/>
                      <a:pt x="149" y="137"/>
                      <a:pt x="145" y="137"/>
                    </a:cubicBezTo>
                    <a:cubicBezTo>
                      <a:pt x="133" y="139"/>
                      <a:pt x="121" y="139"/>
                      <a:pt x="109" y="137"/>
                    </a:cubicBezTo>
                    <a:cubicBezTo>
                      <a:pt x="63" y="130"/>
                      <a:pt x="25" y="91"/>
                      <a:pt x="18" y="44"/>
                    </a:cubicBezTo>
                    <a:cubicBezTo>
                      <a:pt x="16" y="32"/>
                      <a:pt x="16" y="21"/>
                      <a:pt x="18" y="10"/>
                    </a:cubicBezTo>
                    <a:cubicBezTo>
                      <a:pt x="18" y="6"/>
                      <a:pt x="15" y="2"/>
                      <a:pt x="11" y="1"/>
                    </a:cubicBezTo>
                    <a:cubicBezTo>
                      <a:pt x="7" y="0"/>
                      <a:pt x="3" y="3"/>
                      <a:pt x="2" y="8"/>
                    </a:cubicBezTo>
                    <a:cubicBezTo>
                      <a:pt x="0" y="20"/>
                      <a:pt x="0" y="33"/>
                      <a:pt x="2" y="46"/>
                    </a:cubicBezTo>
                    <a:cubicBezTo>
                      <a:pt x="11" y="100"/>
                      <a:pt x="54" y="144"/>
                      <a:pt x="107" y="153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" name="Freeform 21">
                <a:extLst>
                  <a:ext uri="{FF2B5EF4-FFF2-40B4-BE49-F238E27FC236}">
                    <a16:creationId xmlns:a16="http://schemas.microsoft.com/office/drawing/2014/main" id="{41491866-ADB2-4344-A2D2-4D8751BF56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9625" y="1241426"/>
                <a:ext cx="173038" cy="169863"/>
              </a:xfrm>
              <a:custGeom>
                <a:avLst/>
                <a:gdLst>
                  <a:gd name="T0" fmla="*/ 74 w 75"/>
                  <a:gd name="T1" fmla="*/ 65 h 74"/>
                  <a:gd name="T2" fmla="*/ 65 w 75"/>
                  <a:gd name="T3" fmla="*/ 58 h 74"/>
                  <a:gd name="T4" fmla="*/ 52 w 75"/>
                  <a:gd name="T5" fmla="*/ 58 h 74"/>
                  <a:gd name="T6" fmla="*/ 28 w 75"/>
                  <a:gd name="T7" fmla="*/ 45 h 74"/>
                  <a:gd name="T8" fmla="*/ 17 w 75"/>
                  <a:gd name="T9" fmla="*/ 22 h 74"/>
                  <a:gd name="T10" fmla="*/ 17 w 75"/>
                  <a:gd name="T11" fmla="*/ 9 h 74"/>
                  <a:gd name="T12" fmla="*/ 10 w 75"/>
                  <a:gd name="T13" fmla="*/ 0 h 74"/>
                  <a:gd name="T14" fmla="*/ 1 w 75"/>
                  <a:gd name="T15" fmla="*/ 7 h 74"/>
                  <a:gd name="T16" fmla="*/ 1 w 75"/>
                  <a:gd name="T17" fmla="*/ 25 h 74"/>
                  <a:gd name="T18" fmla="*/ 17 w 75"/>
                  <a:gd name="T19" fmla="*/ 56 h 74"/>
                  <a:gd name="T20" fmla="*/ 49 w 75"/>
                  <a:gd name="T21" fmla="*/ 74 h 74"/>
                  <a:gd name="T22" fmla="*/ 59 w 75"/>
                  <a:gd name="T23" fmla="*/ 74 h 74"/>
                  <a:gd name="T24" fmla="*/ 68 w 75"/>
                  <a:gd name="T25" fmla="*/ 74 h 74"/>
                  <a:gd name="T26" fmla="*/ 74 w 75"/>
                  <a:gd name="T27" fmla="*/ 6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5" h="74">
                    <a:moveTo>
                      <a:pt x="74" y="65"/>
                    </a:moveTo>
                    <a:cubicBezTo>
                      <a:pt x="74" y="60"/>
                      <a:pt x="70" y="57"/>
                      <a:pt x="65" y="58"/>
                    </a:cubicBezTo>
                    <a:cubicBezTo>
                      <a:pt x="61" y="59"/>
                      <a:pt x="56" y="59"/>
                      <a:pt x="52" y="58"/>
                    </a:cubicBezTo>
                    <a:cubicBezTo>
                      <a:pt x="43" y="57"/>
                      <a:pt x="35" y="52"/>
                      <a:pt x="28" y="45"/>
                    </a:cubicBezTo>
                    <a:cubicBezTo>
                      <a:pt x="22" y="39"/>
                      <a:pt x="18" y="31"/>
                      <a:pt x="17" y="22"/>
                    </a:cubicBezTo>
                    <a:cubicBezTo>
                      <a:pt x="16" y="18"/>
                      <a:pt x="16" y="14"/>
                      <a:pt x="17" y="9"/>
                    </a:cubicBezTo>
                    <a:cubicBezTo>
                      <a:pt x="18" y="5"/>
                      <a:pt x="15" y="1"/>
                      <a:pt x="10" y="0"/>
                    </a:cubicBezTo>
                    <a:cubicBezTo>
                      <a:pt x="6" y="0"/>
                      <a:pt x="2" y="3"/>
                      <a:pt x="1" y="7"/>
                    </a:cubicBezTo>
                    <a:cubicBezTo>
                      <a:pt x="0" y="13"/>
                      <a:pt x="0" y="19"/>
                      <a:pt x="1" y="25"/>
                    </a:cubicBezTo>
                    <a:cubicBezTo>
                      <a:pt x="3" y="36"/>
                      <a:pt x="9" y="48"/>
                      <a:pt x="17" y="56"/>
                    </a:cubicBezTo>
                    <a:cubicBezTo>
                      <a:pt x="26" y="66"/>
                      <a:pt x="37" y="72"/>
                      <a:pt x="49" y="74"/>
                    </a:cubicBezTo>
                    <a:cubicBezTo>
                      <a:pt x="52" y="74"/>
                      <a:pt x="55" y="74"/>
                      <a:pt x="59" y="74"/>
                    </a:cubicBezTo>
                    <a:cubicBezTo>
                      <a:pt x="62" y="74"/>
                      <a:pt x="65" y="74"/>
                      <a:pt x="68" y="74"/>
                    </a:cubicBezTo>
                    <a:cubicBezTo>
                      <a:pt x="72" y="73"/>
                      <a:pt x="75" y="69"/>
                      <a:pt x="74" y="6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" name="Freeform 23">
                <a:extLst>
                  <a:ext uri="{FF2B5EF4-FFF2-40B4-BE49-F238E27FC236}">
                    <a16:creationId xmlns:a16="http://schemas.microsoft.com/office/drawing/2014/main" id="{10E6B599-5B24-8849-9119-4C4E94FD12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5963" y="1252538"/>
                <a:ext cx="254000" cy="254000"/>
              </a:xfrm>
              <a:custGeom>
                <a:avLst/>
                <a:gdLst>
                  <a:gd name="T0" fmla="*/ 10 w 111"/>
                  <a:gd name="T1" fmla="*/ 0 h 111"/>
                  <a:gd name="T2" fmla="*/ 1 w 111"/>
                  <a:gd name="T3" fmla="*/ 7 h 111"/>
                  <a:gd name="T4" fmla="*/ 1 w 111"/>
                  <a:gd name="T5" fmla="*/ 26 h 111"/>
                  <a:gd name="T6" fmla="*/ 27 w 111"/>
                  <a:gd name="T7" fmla="*/ 81 h 111"/>
                  <a:gd name="T8" fmla="*/ 83 w 111"/>
                  <a:gd name="T9" fmla="*/ 110 h 111"/>
                  <a:gd name="T10" fmla="*/ 94 w 111"/>
                  <a:gd name="T11" fmla="*/ 111 h 111"/>
                  <a:gd name="T12" fmla="*/ 104 w 111"/>
                  <a:gd name="T13" fmla="*/ 110 h 111"/>
                  <a:gd name="T14" fmla="*/ 111 w 111"/>
                  <a:gd name="T15" fmla="*/ 101 h 111"/>
                  <a:gd name="T16" fmla="*/ 102 w 111"/>
                  <a:gd name="T17" fmla="*/ 94 h 111"/>
                  <a:gd name="T18" fmla="*/ 85 w 111"/>
                  <a:gd name="T19" fmla="*/ 94 h 111"/>
                  <a:gd name="T20" fmla="*/ 39 w 111"/>
                  <a:gd name="T21" fmla="*/ 70 h 111"/>
                  <a:gd name="T22" fmla="*/ 17 w 111"/>
                  <a:gd name="T23" fmla="*/ 25 h 111"/>
                  <a:gd name="T24" fmla="*/ 17 w 111"/>
                  <a:gd name="T25" fmla="*/ 9 h 111"/>
                  <a:gd name="T26" fmla="*/ 10 w 111"/>
                  <a:gd name="T2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1" h="111">
                    <a:moveTo>
                      <a:pt x="10" y="0"/>
                    </a:moveTo>
                    <a:cubicBezTo>
                      <a:pt x="5" y="0"/>
                      <a:pt x="1" y="3"/>
                      <a:pt x="1" y="7"/>
                    </a:cubicBezTo>
                    <a:cubicBezTo>
                      <a:pt x="0" y="13"/>
                      <a:pt x="0" y="20"/>
                      <a:pt x="1" y="26"/>
                    </a:cubicBezTo>
                    <a:cubicBezTo>
                      <a:pt x="3" y="46"/>
                      <a:pt x="13" y="66"/>
                      <a:pt x="27" y="81"/>
                    </a:cubicBezTo>
                    <a:cubicBezTo>
                      <a:pt x="43" y="97"/>
                      <a:pt x="62" y="107"/>
                      <a:pt x="83" y="110"/>
                    </a:cubicBezTo>
                    <a:cubicBezTo>
                      <a:pt x="87" y="110"/>
                      <a:pt x="90" y="111"/>
                      <a:pt x="94" y="111"/>
                    </a:cubicBezTo>
                    <a:cubicBezTo>
                      <a:pt x="97" y="111"/>
                      <a:pt x="100" y="110"/>
                      <a:pt x="104" y="110"/>
                    </a:cubicBezTo>
                    <a:cubicBezTo>
                      <a:pt x="108" y="110"/>
                      <a:pt x="111" y="106"/>
                      <a:pt x="111" y="101"/>
                    </a:cubicBezTo>
                    <a:cubicBezTo>
                      <a:pt x="110" y="97"/>
                      <a:pt x="106" y="94"/>
                      <a:pt x="102" y="94"/>
                    </a:cubicBezTo>
                    <a:cubicBezTo>
                      <a:pt x="96" y="95"/>
                      <a:pt x="91" y="95"/>
                      <a:pt x="85" y="94"/>
                    </a:cubicBezTo>
                    <a:cubicBezTo>
                      <a:pt x="68" y="92"/>
                      <a:pt x="52" y="84"/>
                      <a:pt x="39" y="70"/>
                    </a:cubicBezTo>
                    <a:cubicBezTo>
                      <a:pt x="26" y="57"/>
                      <a:pt x="19" y="41"/>
                      <a:pt x="17" y="25"/>
                    </a:cubicBezTo>
                    <a:cubicBezTo>
                      <a:pt x="16" y="19"/>
                      <a:pt x="16" y="14"/>
                      <a:pt x="17" y="9"/>
                    </a:cubicBezTo>
                    <a:cubicBezTo>
                      <a:pt x="17" y="5"/>
                      <a:pt x="14" y="1"/>
                      <a:pt x="10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13" name="Grupp 112">
              <a:extLst>
                <a:ext uri="{FF2B5EF4-FFF2-40B4-BE49-F238E27FC236}">
                  <a16:creationId xmlns:a16="http://schemas.microsoft.com/office/drawing/2014/main" id="{40208F70-A130-CA41-977D-8DA1632A791C}"/>
                </a:ext>
              </a:extLst>
            </p:cNvPr>
            <p:cNvGrpSpPr/>
            <p:nvPr/>
          </p:nvGrpSpPr>
          <p:grpSpPr>
            <a:xfrm>
              <a:off x="7773180" y="3096289"/>
              <a:ext cx="328960" cy="347338"/>
              <a:chOff x="3186113" y="547688"/>
              <a:chExt cx="852488" cy="900113"/>
            </a:xfrm>
          </p:grpSpPr>
          <p:sp>
            <p:nvSpPr>
              <p:cNvPr id="114" name="Freeform 68">
                <a:extLst>
                  <a:ext uri="{FF2B5EF4-FFF2-40B4-BE49-F238E27FC236}">
                    <a16:creationId xmlns:a16="http://schemas.microsoft.com/office/drawing/2014/main" id="{40C49CC7-4BC8-9742-B256-6B492567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950913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" name="Freeform 69">
                <a:extLst>
                  <a:ext uri="{FF2B5EF4-FFF2-40B4-BE49-F238E27FC236}">
                    <a16:creationId xmlns:a16="http://schemas.microsoft.com/office/drawing/2014/main" id="{008EBABE-2AAE-4947-8D1F-D2AACDA306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801688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7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7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7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" name="Freeform 70">
                <a:extLst>
                  <a:ext uri="{FF2B5EF4-FFF2-40B4-BE49-F238E27FC236}">
                    <a16:creationId xmlns:a16="http://schemas.microsoft.com/office/drawing/2014/main" id="{C2695BF4-F3B8-CB4C-A41C-882D3482A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1101726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" name="Freeform 71">
                <a:extLst>
                  <a:ext uri="{FF2B5EF4-FFF2-40B4-BE49-F238E27FC236}">
                    <a16:creationId xmlns:a16="http://schemas.microsoft.com/office/drawing/2014/main" id="{3163CF79-259E-1A42-8C36-D18E01177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1250951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" name="Freeform 72">
                <a:extLst>
                  <a:ext uri="{FF2B5EF4-FFF2-40B4-BE49-F238E27FC236}">
                    <a16:creationId xmlns:a16="http://schemas.microsoft.com/office/drawing/2014/main" id="{6E130CCD-14A6-BD4C-88A3-2CF5DF349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1101726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7 h 35"/>
                  <a:gd name="T4" fmla="*/ 15 w 15"/>
                  <a:gd name="T5" fmla="*/ 8 h 35"/>
                  <a:gd name="T6" fmla="*/ 8 w 15"/>
                  <a:gd name="T7" fmla="*/ 0 h 35"/>
                  <a:gd name="T8" fmla="*/ 0 w 15"/>
                  <a:gd name="T9" fmla="*/ 8 h 35"/>
                  <a:gd name="T10" fmla="*/ 0 w 15"/>
                  <a:gd name="T11" fmla="*/ 27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2"/>
                      <a:pt x="15" y="27"/>
                    </a:cubicBezTo>
                    <a:cubicBezTo>
                      <a:pt x="15" y="27"/>
                      <a:pt x="15" y="27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9" name="Freeform 73">
                <a:extLst>
                  <a:ext uri="{FF2B5EF4-FFF2-40B4-BE49-F238E27FC236}">
                    <a16:creationId xmlns:a16="http://schemas.microsoft.com/office/drawing/2014/main" id="{003E46DD-F509-2146-89A5-4DFF63AB7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950913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7 h 35"/>
                  <a:gd name="T4" fmla="*/ 15 w 15"/>
                  <a:gd name="T5" fmla="*/ 8 h 35"/>
                  <a:gd name="T6" fmla="*/ 8 w 15"/>
                  <a:gd name="T7" fmla="*/ 0 h 35"/>
                  <a:gd name="T8" fmla="*/ 0 w 15"/>
                  <a:gd name="T9" fmla="*/ 8 h 35"/>
                  <a:gd name="T10" fmla="*/ 0 w 15"/>
                  <a:gd name="T11" fmla="*/ 27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1"/>
                      <a:pt x="15" y="27"/>
                    </a:cubicBezTo>
                    <a:cubicBezTo>
                      <a:pt x="15" y="27"/>
                      <a:pt x="15" y="27"/>
                      <a:pt x="15" y="8"/>
                    </a:cubicBezTo>
                    <a:cubicBezTo>
                      <a:pt x="15" y="3"/>
                      <a:pt x="12" y="0"/>
                      <a:pt x="8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 74">
                <a:extLst>
                  <a:ext uri="{FF2B5EF4-FFF2-40B4-BE49-F238E27FC236}">
                    <a16:creationId xmlns:a16="http://schemas.microsoft.com/office/drawing/2014/main" id="{09F89417-85AF-6146-AD1B-17F2B79CD0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649288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8 h 35"/>
                  <a:gd name="T6" fmla="*/ 8 w 16"/>
                  <a:gd name="T7" fmla="*/ 35 h 35"/>
                  <a:gd name="T8" fmla="*/ 16 w 16"/>
                  <a:gd name="T9" fmla="*/ 28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8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8"/>
                    </a:cubicBezTo>
                    <a:cubicBezTo>
                      <a:pt x="16" y="28"/>
                      <a:pt x="16" y="28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 79">
                <a:extLst>
                  <a:ext uri="{FF2B5EF4-FFF2-40B4-BE49-F238E27FC236}">
                    <a16:creationId xmlns:a16="http://schemas.microsoft.com/office/drawing/2014/main" id="{829C9AB2-FB49-6F4A-A559-61542A20E3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86113" y="547688"/>
                <a:ext cx="852488" cy="900113"/>
              </a:xfrm>
              <a:custGeom>
                <a:avLst/>
                <a:gdLst>
                  <a:gd name="T0" fmla="*/ 7 w 369"/>
                  <a:gd name="T1" fmla="*/ 390 h 390"/>
                  <a:gd name="T2" fmla="*/ 362 w 369"/>
                  <a:gd name="T3" fmla="*/ 390 h 390"/>
                  <a:gd name="T4" fmla="*/ 369 w 369"/>
                  <a:gd name="T5" fmla="*/ 382 h 390"/>
                  <a:gd name="T6" fmla="*/ 362 w 369"/>
                  <a:gd name="T7" fmla="*/ 374 h 390"/>
                  <a:gd name="T8" fmla="*/ 339 w 369"/>
                  <a:gd name="T9" fmla="*/ 374 h 390"/>
                  <a:gd name="T10" fmla="*/ 339 w 369"/>
                  <a:gd name="T11" fmla="*/ 371 h 390"/>
                  <a:gd name="T12" fmla="*/ 339 w 369"/>
                  <a:gd name="T13" fmla="*/ 70 h 390"/>
                  <a:gd name="T14" fmla="*/ 331 w 369"/>
                  <a:gd name="T15" fmla="*/ 63 h 390"/>
                  <a:gd name="T16" fmla="*/ 261 w 369"/>
                  <a:gd name="T17" fmla="*/ 63 h 390"/>
                  <a:gd name="T18" fmla="*/ 261 w 369"/>
                  <a:gd name="T19" fmla="*/ 8 h 390"/>
                  <a:gd name="T20" fmla="*/ 254 w 369"/>
                  <a:gd name="T21" fmla="*/ 0 h 390"/>
                  <a:gd name="T22" fmla="*/ 38 w 369"/>
                  <a:gd name="T23" fmla="*/ 0 h 390"/>
                  <a:gd name="T24" fmla="*/ 30 w 369"/>
                  <a:gd name="T25" fmla="*/ 8 h 390"/>
                  <a:gd name="T26" fmla="*/ 30 w 369"/>
                  <a:gd name="T27" fmla="*/ 374 h 390"/>
                  <a:gd name="T28" fmla="*/ 7 w 369"/>
                  <a:gd name="T29" fmla="*/ 374 h 390"/>
                  <a:gd name="T30" fmla="*/ 0 w 369"/>
                  <a:gd name="T31" fmla="*/ 382 h 390"/>
                  <a:gd name="T32" fmla="*/ 7 w 369"/>
                  <a:gd name="T33" fmla="*/ 390 h 390"/>
                  <a:gd name="T34" fmla="*/ 261 w 369"/>
                  <a:gd name="T35" fmla="*/ 78 h 390"/>
                  <a:gd name="T36" fmla="*/ 324 w 369"/>
                  <a:gd name="T37" fmla="*/ 78 h 390"/>
                  <a:gd name="T38" fmla="*/ 324 w 369"/>
                  <a:gd name="T39" fmla="*/ 371 h 390"/>
                  <a:gd name="T40" fmla="*/ 324 w 369"/>
                  <a:gd name="T41" fmla="*/ 374 h 390"/>
                  <a:gd name="T42" fmla="*/ 261 w 369"/>
                  <a:gd name="T43" fmla="*/ 374 h 390"/>
                  <a:gd name="T44" fmla="*/ 261 w 369"/>
                  <a:gd name="T45" fmla="*/ 78 h 390"/>
                  <a:gd name="T46" fmla="*/ 158 w 369"/>
                  <a:gd name="T47" fmla="*/ 374 h 390"/>
                  <a:gd name="T48" fmla="*/ 133 w 369"/>
                  <a:gd name="T49" fmla="*/ 374 h 390"/>
                  <a:gd name="T50" fmla="*/ 133 w 369"/>
                  <a:gd name="T51" fmla="*/ 317 h 390"/>
                  <a:gd name="T52" fmla="*/ 158 w 369"/>
                  <a:gd name="T53" fmla="*/ 317 h 390"/>
                  <a:gd name="T54" fmla="*/ 158 w 369"/>
                  <a:gd name="T55" fmla="*/ 374 h 390"/>
                  <a:gd name="T56" fmla="*/ 45 w 369"/>
                  <a:gd name="T57" fmla="*/ 16 h 390"/>
                  <a:gd name="T58" fmla="*/ 246 w 369"/>
                  <a:gd name="T59" fmla="*/ 16 h 390"/>
                  <a:gd name="T60" fmla="*/ 246 w 369"/>
                  <a:gd name="T61" fmla="*/ 374 h 390"/>
                  <a:gd name="T62" fmla="*/ 173 w 369"/>
                  <a:gd name="T63" fmla="*/ 374 h 390"/>
                  <a:gd name="T64" fmla="*/ 173 w 369"/>
                  <a:gd name="T65" fmla="*/ 310 h 390"/>
                  <a:gd name="T66" fmla="*/ 165 w 369"/>
                  <a:gd name="T67" fmla="*/ 302 h 390"/>
                  <a:gd name="T68" fmla="*/ 126 w 369"/>
                  <a:gd name="T69" fmla="*/ 302 h 390"/>
                  <a:gd name="T70" fmla="*/ 118 w 369"/>
                  <a:gd name="T71" fmla="*/ 310 h 390"/>
                  <a:gd name="T72" fmla="*/ 118 w 369"/>
                  <a:gd name="T73" fmla="*/ 374 h 390"/>
                  <a:gd name="T74" fmla="*/ 45 w 369"/>
                  <a:gd name="T75" fmla="*/ 374 h 390"/>
                  <a:gd name="T76" fmla="*/ 45 w 369"/>
                  <a:gd name="T77" fmla="*/ 1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69" h="390">
                    <a:moveTo>
                      <a:pt x="7" y="390"/>
                    </a:moveTo>
                    <a:cubicBezTo>
                      <a:pt x="7" y="390"/>
                      <a:pt x="7" y="390"/>
                      <a:pt x="362" y="390"/>
                    </a:cubicBezTo>
                    <a:cubicBezTo>
                      <a:pt x="366" y="390"/>
                      <a:pt x="369" y="387"/>
                      <a:pt x="369" y="382"/>
                    </a:cubicBezTo>
                    <a:cubicBezTo>
                      <a:pt x="369" y="378"/>
                      <a:pt x="366" y="374"/>
                      <a:pt x="362" y="374"/>
                    </a:cubicBezTo>
                    <a:cubicBezTo>
                      <a:pt x="362" y="374"/>
                      <a:pt x="362" y="374"/>
                      <a:pt x="339" y="374"/>
                    </a:cubicBezTo>
                    <a:cubicBezTo>
                      <a:pt x="339" y="374"/>
                      <a:pt x="339" y="372"/>
                      <a:pt x="339" y="371"/>
                    </a:cubicBezTo>
                    <a:cubicBezTo>
                      <a:pt x="339" y="371"/>
                      <a:pt x="339" y="371"/>
                      <a:pt x="339" y="70"/>
                    </a:cubicBezTo>
                    <a:cubicBezTo>
                      <a:pt x="339" y="66"/>
                      <a:pt x="336" y="63"/>
                      <a:pt x="331" y="63"/>
                    </a:cubicBezTo>
                    <a:cubicBezTo>
                      <a:pt x="331" y="63"/>
                      <a:pt x="331" y="63"/>
                      <a:pt x="261" y="63"/>
                    </a:cubicBezTo>
                    <a:cubicBezTo>
                      <a:pt x="261" y="63"/>
                      <a:pt x="261" y="63"/>
                      <a:pt x="261" y="8"/>
                    </a:cubicBezTo>
                    <a:cubicBezTo>
                      <a:pt x="261" y="4"/>
                      <a:pt x="258" y="0"/>
                      <a:pt x="254" y="0"/>
                    </a:cubicBezTo>
                    <a:cubicBezTo>
                      <a:pt x="254" y="0"/>
                      <a:pt x="254" y="0"/>
                      <a:pt x="38" y="0"/>
                    </a:cubicBezTo>
                    <a:cubicBezTo>
                      <a:pt x="33" y="0"/>
                      <a:pt x="30" y="4"/>
                      <a:pt x="30" y="8"/>
                    </a:cubicBezTo>
                    <a:cubicBezTo>
                      <a:pt x="30" y="8"/>
                      <a:pt x="30" y="8"/>
                      <a:pt x="30" y="374"/>
                    </a:cubicBezTo>
                    <a:cubicBezTo>
                      <a:pt x="30" y="374"/>
                      <a:pt x="30" y="374"/>
                      <a:pt x="7" y="374"/>
                    </a:cubicBezTo>
                    <a:cubicBezTo>
                      <a:pt x="3" y="374"/>
                      <a:pt x="0" y="378"/>
                      <a:pt x="0" y="382"/>
                    </a:cubicBezTo>
                    <a:cubicBezTo>
                      <a:pt x="0" y="387"/>
                      <a:pt x="3" y="390"/>
                      <a:pt x="7" y="390"/>
                    </a:cubicBezTo>
                    <a:close/>
                    <a:moveTo>
                      <a:pt x="261" y="78"/>
                    </a:moveTo>
                    <a:cubicBezTo>
                      <a:pt x="261" y="78"/>
                      <a:pt x="261" y="78"/>
                      <a:pt x="324" y="78"/>
                    </a:cubicBezTo>
                    <a:cubicBezTo>
                      <a:pt x="324" y="78"/>
                      <a:pt x="324" y="78"/>
                      <a:pt x="324" y="371"/>
                    </a:cubicBezTo>
                    <a:cubicBezTo>
                      <a:pt x="324" y="372"/>
                      <a:pt x="324" y="374"/>
                      <a:pt x="324" y="374"/>
                    </a:cubicBezTo>
                    <a:cubicBezTo>
                      <a:pt x="324" y="374"/>
                      <a:pt x="324" y="374"/>
                      <a:pt x="261" y="374"/>
                    </a:cubicBezTo>
                    <a:lnTo>
                      <a:pt x="261" y="78"/>
                    </a:lnTo>
                    <a:close/>
                    <a:moveTo>
                      <a:pt x="158" y="374"/>
                    </a:moveTo>
                    <a:cubicBezTo>
                      <a:pt x="158" y="374"/>
                      <a:pt x="158" y="374"/>
                      <a:pt x="133" y="374"/>
                    </a:cubicBezTo>
                    <a:cubicBezTo>
                      <a:pt x="133" y="317"/>
                      <a:pt x="133" y="317"/>
                      <a:pt x="133" y="317"/>
                    </a:cubicBezTo>
                    <a:cubicBezTo>
                      <a:pt x="133" y="317"/>
                      <a:pt x="133" y="317"/>
                      <a:pt x="158" y="317"/>
                    </a:cubicBezTo>
                    <a:cubicBezTo>
                      <a:pt x="158" y="317"/>
                      <a:pt x="158" y="317"/>
                      <a:pt x="158" y="374"/>
                    </a:cubicBezTo>
                    <a:close/>
                    <a:moveTo>
                      <a:pt x="45" y="16"/>
                    </a:moveTo>
                    <a:cubicBezTo>
                      <a:pt x="45" y="16"/>
                      <a:pt x="45" y="16"/>
                      <a:pt x="246" y="16"/>
                    </a:cubicBezTo>
                    <a:cubicBezTo>
                      <a:pt x="246" y="16"/>
                      <a:pt x="246" y="16"/>
                      <a:pt x="246" y="374"/>
                    </a:cubicBezTo>
                    <a:cubicBezTo>
                      <a:pt x="246" y="374"/>
                      <a:pt x="246" y="374"/>
                      <a:pt x="173" y="374"/>
                    </a:cubicBezTo>
                    <a:cubicBezTo>
                      <a:pt x="173" y="310"/>
                      <a:pt x="173" y="310"/>
                      <a:pt x="173" y="310"/>
                    </a:cubicBezTo>
                    <a:cubicBezTo>
                      <a:pt x="173" y="305"/>
                      <a:pt x="170" y="302"/>
                      <a:pt x="165" y="302"/>
                    </a:cubicBezTo>
                    <a:cubicBezTo>
                      <a:pt x="165" y="302"/>
                      <a:pt x="165" y="302"/>
                      <a:pt x="126" y="302"/>
                    </a:cubicBezTo>
                    <a:cubicBezTo>
                      <a:pt x="121" y="302"/>
                      <a:pt x="118" y="305"/>
                      <a:pt x="118" y="310"/>
                    </a:cubicBezTo>
                    <a:cubicBezTo>
                      <a:pt x="118" y="310"/>
                      <a:pt x="118" y="310"/>
                      <a:pt x="118" y="374"/>
                    </a:cubicBezTo>
                    <a:cubicBezTo>
                      <a:pt x="118" y="374"/>
                      <a:pt x="118" y="374"/>
                      <a:pt x="45" y="374"/>
                    </a:cubicBezTo>
                    <a:cubicBezTo>
                      <a:pt x="45" y="374"/>
                      <a:pt x="45" y="374"/>
                      <a:pt x="45" y="16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 80">
                <a:extLst>
                  <a:ext uri="{FF2B5EF4-FFF2-40B4-BE49-F238E27FC236}">
                    <a16:creationId xmlns:a16="http://schemas.microsoft.com/office/drawing/2014/main" id="{0CC5CFDE-6235-0F49-AE99-3257B700C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1101726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 82">
                <a:extLst>
                  <a:ext uri="{FF2B5EF4-FFF2-40B4-BE49-F238E27FC236}">
                    <a16:creationId xmlns:a16="http://schemas.microsoft.com/office/drawing/2014/main" id="{4892DEA7-3B9B-3242-96BC-071B87B0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649288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8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8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2"/>
                      <a:pt x="16" y="28"/>
                    </a:cubicBezTo>
                    <a:cubicBezTo>
                      <a:pt x="16" y="28"/>
                      <a:pt x="16" y="28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8"/>
                    </a:cubicBezTo>
                    <a:cubicBezTo>
                      <a:pt x="0" y="32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 83">
                <a:extLst>
                  <a:ext uri="{FF2B5EF4-FFF2-40B4-BE49-F238E27FC236}">
                    <a16:creationId xmlns:a16="http://schemas.microsoft.com/office/drawing/2014/main" id="{FCB2787B-F5D8-2C41-98CE-FAA80E927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801688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7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7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7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 84">
                <a:extLst>
                  <a:ext uri="{FF2B5EF4-FFF2-40B4-BE49-F238E27FC236}">
                    <a16:creationId xmlns:a16="http://schemas.microsoft.com/office/drawing/2014/main" id="{3DB21A0C-CE02-1442-BE6C-2011BB263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950913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85">
                <a:extLst>
                  <a:ext uri="{FF2B5EF4-FFF2-40B4-BE49-F238E27FC236}">
                    <a16:creationId xmlns:a16="http://schemas.microsoft.com/office/drawing/2014/main" id="{DFE3BB7D-7251-4D4F-B973-3BC346E424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1250951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86">
                <a:extLst>
                  <a:ext uri="{FF2B5EF4-FFF2-40B4-BE49-F238E27FC236}">
                    <a16:creationId xmlns:a16="http://schemas.microsoft.com/office/drawing/2014/main" id="{61397B97-5AFF-D041-8E91-2742872462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801688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7 h 35"/>
                  <a:gd name="T4" fmla="*/ 15 w 15"/>
                  <a:gd name="T5" fmla="*/ 7 h 35"/>
                  <a:gd name="T6" fmla="*/ 8 w 15"/>
                  <a:gd name="T7" fmla="*/ 0 h 35"/>
                  <a:gd name="T8" fmla="*/ 0 w 15"/>
                  <a:gd name="T9" fmla="*/ 7 h 35"/>
                  <a:gd name="T10" fmla="*/ 0 w 15"/>
                  <a:gd name="T11" fmla="*/ 27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1"/>
                      <a:pt x="15" y="27"/>
                    </a:cubicBezTo>
                    <a:cubicBezTo>
                      <a:pt x="15" y="27"/>
                      <a:pt x="15" y="27"/>
                      <a:pt x="15" y="7"/>
                    </a:cubicBezTo>
                    <a:cubicBezTo>
                      <a:pt x="15" y="3"/>
                      <a:pt x="12" y="0"/>
                      <a:pt x="8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 88">
                <a:extLst>
                  <a:ext uri="{FF2B5EF4-FFF2-40B4-BE49-F238E27FC236}">
                    <a16:creationId xmlns:a16="http://schemas.microsoft.com/office/drawing/2014/main" id="{03848E1F-909D-1245-896F-87CA1EF59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1250951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 89">
                <a:extLst>
                  <a:ext uri="{FF2B5EF4-FFF2-40B4-BE49-F238E27FC236}">
                    <a16:creationId xmlns:a16="http://schemas.microsoft.com/office/drawing/2014/main" id="{ED66AFEB-C24C-3842-989E-16C78887D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649288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8 h 35"/>
                  <a:gd name="T4" fmla="*/ 15 w 15"/>
                  <a:gd name="T5" fmla="*/ 8 h 35"/>
                  <a:gd name="T6" fmla="*/ 8 w 15"/>
                  <a:gd name="T7" fmla="*/ 0 h 35"/>
                  <a:gd name="T8" fmla="*/ 0 w 15"/>
                  <a:gd name="T9" fmla="*/ 8 h 35"/>
                  <a:gd name="T10" fmla="*/ 0 w 15"/>
                  <a:gd name="T11" fmla="*/ 28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2"/>
                      <a:pt x="15" y="28"/>
                    </a:cubicBezTo>
                    <a:cubicBezTo>
                      <a:pt x="15" y="28"/>
                      <a:pt x="15" y="2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8"/>
                    </a:cubicBezTo>
                    <a:cubicBezTo>
                      <a:pt x="0" y="32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 90">
                <a:extLst>
                  <a:ext uri="{FF2B5EF4-FFF2-40B4-BE49-F238E27FC236}">
                    <a16:creationId xmlns:a16="http://schemas.microsoft.com/office/drawing/2014/main" id="{DA5F8D3C-4BEF-FB4A-A0E4-23ED73238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1101726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 91">
                <a:extLst>
                  <a:ext uri="{FF2B5EF4-FFF2-40B4-BE49-F238E27FC236}">
                    <a16:creationId xmlns:a16="http://schemas.microsoft.com/office/drawing/2014/main" id="{15AA8059-A0AF-7244-96C2-A9AABE8472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801688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7 h 35"/>
                  <a:gd name="T6" fmla="*/ 8 w 16"/>
                  <a:gd name="T7" fmla="*/ 0 h 35"/>
                  <a:gd name="T8" fmla="*/ 0 w 16"/>
                  <a:gd name="T9" fmla="*/ 7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7"/>
                    </a:cubicBezTo>
                    <a:cubicBezTo>
                      <a:pt x="16" y="3"/>
                      <a:pt x="13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 92">
                <a:extLst>
                  <a:ext uri="{FF2B5EF4-FFF2-40B4-BE49-F238E27FC236}">
                    <a16:creationId xmlns:a16="http://schemas.microsoft.com/office/drawing/2014/main" id="{A942D52F-B15F-A048-85E5-6E3FC9CBA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950913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3"/>
                      <a:pt x="13" y="0"/>
                      <a:pt x="8" y="0"/>
                    </a:cubicBezTo>
                    <a:cubicBezTo>
                      <a:pt x="4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3" name="Freeform 71">
              <a:extLst>
                <a:ext uri="{FF2B5EF4-FFF2-40B4-BE49-F238E27FC236}">
                  <a16:creationId xmlns:a16="http://schemas.microsoft.com/office/drawing/2014/main" id="{DB7AD70C-B4E5-D14D-BE42-8BAE7B5980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9548" y="3638145"/>
              <a:ext cx="376029" cy="321578"/>
            </a:xfrm>
            <a:custGeom>
              <a:avLst/>
              <a:gdLst>
                <a:gd name="T0" fmla="*/ 393 w 410"/>
                <a:gd name="T1" fmla="*/ 128 h 351"/>
                <a:gd name="T2" fmla="*/ 376 w 410"/>
                <a:gd name="T3" fmla="*/ 145 h 351"/>
                <a:gd name="T4" fmla="*/ 376 w 410"/>
                <a:gd name="T5" fmla="*/ 148 h 351"/>
                <a:gd name="T6" fmla="*/ 354 w 410"/>
                <a:gd name="T7" fmla="*/ 161 h 351"/>
                <a:gd name="T8" fmla="*/ 355 w 410"/>
                <a:gd name="T9" fmla="*/ 120 h 351"/>
                <a:gd name="T10" fmla="*/ 355 w 410"/>
                <a:gd name="T11" fmla="*/ 119 h 351"/>
                <a:gd name="T12" fmla="*/ 360 w 410"/>
                <a:gd name="T13" fmla="*/ 119 h 351"/>
                <a:gd name="T14" fmla="*/ 368 w 410"/>
                <a:gd name="T15" fmla="*/ 111 h 351"/>
                <a:gd name="T16" fmla="*/ 360 w 410"/>
                <a:gd name="T17" fmla="*/ 103 h 351"/>
                <a:gd name="T18" fmla="*/ 356 w 410"/>
                <a:gd name="T19" fmla="*/ 103 h 351"/>
                <a:gd name="T20" fmla="*/ 232 w 410"/>
                <a:gd name="T21" fmla="*/ 37 h 351"/>
                <a:gd name="T22" fmla="*/ 232 w 410"/>
                <a:gd name="T23" fmla="*/ 23 h 351"/>
                <a:gd name="T24" fmla="*/ 205 w 410"/>
                <a:gd name="T25" fmla="*/ 0 h 351"/>
                <a:gd name="T26" fmla="*/ 178 w 410"/>
                <a:gd name="T27" fmla="*/ 23 h 351"/>
                <a:gd name="T28" fmla="*/ 178 w 410"/>
                <a:gd name="T29" fmla="*/ 37 h 351"/>
                <a:gd name="T30" fmla="*/ 172 w 410"/>
                <a:gd name="T31" fmla="*/ 37 h 351"/>
                <a:gd name="T32" fmla="*/ 54 w 410"/>
                <a:gd name="T33" fmla="*/ 103 h 351"/>
                <a:gd name="T34" fmla="*/ 50 w 410"/>
                <a:gd name="T35" fmla="*/ 103 h 351"/>
                <a:gd name="T36" fmla="*/ 42 w 410"/>
                <a:gd name="T37" fmla="*/ 111 h 351"/>
                <a:gd name="T38" fmla="*/ 50 w 410"/>
                <a:gd name="T39" fmla="*/ 119 h 351"/>
                <a:gd name="T40" fmla="*/ 55 w 410"/>
                <a:gd name="T41" fmla="*/ 119 h 351"/>
                <a:gd name="T42" fmla="*/ 55 w 410"/>
                <a:gd name="T43" fmla="*/ 120 h 351"/>
                <a:gd name="T44" fmla="*/ 56 w 410"/>
                <a:gd name="T45" fmla="*/ 161 h 351"/>
                <a:gd name="T46" fmla="*/ 34 w 410"/>
                <a:gd name="T47" fmla="*/ 148 h 351"/>
                <a:gd name="T48" fmla="*/ 34 w 410"/>
                <a:gd name="T49" fmla="*/ 145 h 351"/>
                <a:gd name="T50" fmla="*/ 17 w 410"/>
                <a:gd name="T51" fmla="*/ 128 h 351"/>
                <a:gd name="T52" fmla="*/ 0 w 410"/>
                <a:gd name="T53" fmla="*/ 145 h 351"/>
                <a:gd name="T54" fmla="*/ 17 w 410"/>
                <a:gd name="T55" fmla="*/ 162 h 351"/>
                <a:gd name="T56" fmla="*/ 24 w 410"/>
                <a:gd name="T57" fmla="*/ 160 h 351"/>
                <a:gd name="T58" fmla="*/ 57 w 410"/>
                <a:gd name="T59" fmla="*/ 178 h 351"/>
                <a:gd name="T60" fmla="*/ 66 w 410"/>
                <a:gd name="T61" fmla="*/ 322 h 351"/>
                <a:gd name="T62" fmla="*/ 110 w 410"/>
                <a:gd name="T63" fmla="*/ 351 h 351"/>
                <a:gd name="T64" fmla="*/ 300 w 410"/>
                <a:gd name="T65" fmla="*/ 351 h 351"/>
                <a:gd name="T66" fmla="*/ 344 w 410"/>
                <a:gd name="T67" fmla="*/ 322 h 351"/>
                <a:gd name="T68" fmla="*/ 353 w 410"/>
                <a:gd name="T69" fmla="*/ 178 h 351"/>
                <a:gd name="T70" fmla="*/ 386 w 410"/>
                <a:gd name="T71" fmla="*/ 160 h 351"/>
                <a:gd name="T72" fmla="*/ 393 w 410"/>
                <a:gd name="T73" fmla="*/ 162 h 351"/>
                <a:gd name="T74" fmla="*/ 410 w 410"/>
                <a:gd name="T75" fmla="*/ 145 h 351"/>
                <a:gd name="T76" fmla="*/ 393 w 410"/>
                <a:gd name="T77" fmla="*/ 128 h 351"/>
                <a:gd name="T78" fmla="*/ 194 w 410"/>
                <a:gd name="T79" fmla="*/ 23 h 351"/>
                <a:gd name="T80" fmla="*/ 205 w 410"/>
                <a:gd name="T81" fmla="*/ 16 h 351"/>
                <a:gd name="T82" fmla="*/ 216 w 410"/>
                <a:gd name="T83" fmla="*/ 23 h 351"/>
                <a:gd name="T84" fmla="*/ 216 w 410"/>
                <a:gd name="T85" fmla="*/ 37 h 351"/>
                <a:gd name="T86" fmla="*/ 194 w 410"/>
                <a:gd name="T87" fmla="*/ 37 h 351"/>
                <a:gd name="T88" fmla="*/ 194 w 410"/>
                <a:gd name="T89" fmla="*/ 23 h 351"/>
                <a:gd name="T90" fmla="*/ 173 w 410"/>
                <a:gd name="T91" fmla="*/ 53 h 351"/>
                <a:gd name="T92" fmla="*/ 230 w 410"/>
                <a:gd name="T93" fmla="*/ 52 h 351"/>
                <a:gd name="T94" fmla="*/ 340 w 410"/>
                <a:gd name="T95" fmla="*/ 103 h 351"/>
                <a:gd name="T96" fmla="*/ 70 w 410"/>
                <a:gd name="T97" fmla="*/ 103 h 351"/>
                <a:gd name="T98" fmla="*/ 173 w 410"/>
                <a:gd name="T99" fmla="*/ 53 h 351"/>
                <a:gd name="T100" fmla="*/ 330 w 410"/>
                <a:gd name="T101" fmla="*/ 315 h 351"/>
                <a:gd name="T102" fmla="*/ 300 w 410"/>
                <a:gd name="T103" fmla="*/ 335 h 351"/>
                <a:gd name="T104" fmla="*/ 110 w 410"/>
                <a:gd name="T105" fmla="*/ 335 h 351"/>
                <a:gd name="T106" fmla="*/ 80 w 410"/>
                <a:gd name="T107" fmla="*/ 315 h 351"/>
                <a:gd name="T108" fmla="*/ 73 w 410"/>
                <a:gd name="T109" fmla="*/ 177 h 351"/>
                <a:gd name="T110" fmla="*/ 71 w 410"/>
                <a:gd name="T111" fmla="*/ 119 h 351"/>
                <a:gd name="T112" fmla="*/ 339 w 410"/>
                <a:gd name="T113" fmla="*/ 119 h 351"/>
                <a:gd name="T114" fmla="*/ 337 w 410"/>
                <a:gd name="T115" fmla="*/ 177 h 351"/>
                <a:gd name="T116" fmla="*/ 330 w 410"/>
                <a:gd name="T117" fmla="*/ 315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0" h="351">
                  <a:moveTo>
                    <a:pt x="393" y="128"/>
                  </a:moveTo>
                  <a:cubicBezTo>
                    <a:pt x="384" y="128"/>
                    <a:pt x="376" y="136"/>
                    <a:pt x="376" y="145"/>
                  </a:cubicBezTo>
                  <a:cubicBezTo>
                    <a:pt x="376" y="146"/>
                    <a:pt x="376" y="147"/>
                    <a:pt x="376" y="148"/>
                  </a:cubicBezTo>
                  <a:cubicBezTo>
                    <a:pt x="372" y="150"/>
                    <a:pt x="364" y="154"/>
                    <a:pt x="354" y="161"/>
                  </a:cubicBezTo>
                  <a:cubicBezTo>
                    <a:pt x="354" y="140"/>
                    <a:pt x="354" y="124"/>
                    <a:pt x="355" y="120"/>
                  </a:cubicBezTo>
                  <a:cubicBezTo>
                    <a:pt x="355" y="119"/>
                    <a:pt x="355" y="119"/>
                    <a:pt x="355" y="119"/>
                  </a:cubicBezTo>
                  <a:cubicBezTo>
                    <a:pt x="355" y="119"/>
                    <a:pt x="355" y="119"/>
                    <a:pt x="360" y="119"/>
                  </a:cubicBezTo>
                  <a:cubicBezTo>
                    <a:pt x="364" y="119"/>
                    <a:pt x="368" y="115"/>
                    <a:pt x="368" y="111"/>
                  </a:cubicBezTo>
                  <a:cubicBezTo>
                    <a:pt x="368" y="106"/>
                    <a:pt x="364" y="103"/>
                    <a:pt x="360" y="103"/>
                  </a:cubicBezTo>
                  <a:cubicBezTo>
                    <a:pt x="360" y="103"/>
                    <a:pt x="360" y="103"/>
                    <a:pt x="356" y="103"/>
                  </a:cubicBezTo>
                  <a:cubicBezTo>
                    <a:pt x="356" y="60"/>
                    <a:pt x="252" y="39"/>
                    <a:pt x="232" y="37"/>
                  </a:cubicBezTo>
                  <a:cubicBezTo>
                    <a:pt x="232" y="32"/>
                    <a:pt x="232" y="26"/>
                    <a:pt x="232" y="23"/>
                  </a:cubicBezTo>
                  <a:cubicBezTo>
                    <a:pt x="232" y="12"/>
                    <a:pt x="220" y="0"/>
                    <a:pt x="205" y="0"/>
                  </a:cubicBezTo>
                  <a:cubicBezTo>
                    <a:pt x="190" y="0"/>
                    <a:pt x="178" y="12"/>
                    <a:pt x="178" y="23"/>
                  </a:cubicBezTo>
                  <a:cubicBezTo>
                    <a:pt x="178" y="26"/>
                    <a:pt x="178" y="32"/>
                    <a:pt x="178" y="37"/>
                  </a:cubicBezTo>
                  <a:cubicBezTo>
                    <a:pt x="178" y="37"/>
                    <a:pt x="178" y="37"/>
                    <a:pt x="172" y="37"/>
                  </a:cubicBezTo>
                  <a:cubicBezTo>
                    <a:pt x="155" y="38"/>
                    <a:pt x="55" y="62"/>
                    <a:pt x="54" y="103"/>
                  </a:cubicBezTo>
                  <a:cubicBezTo>
                    <a:pt x="54" y="103"/>
                    <a:pt x="54" y="103"/>
                    <a:pt x="50" y="103"/>
                  </a:cubicBezTo>
                  <a:cubicBezTo>
                    <a:pt x="46" y="103"/>
                    <a:pt x="42" y="106"/>
                    <a:pt x="42" y="111"/>
                  </a:cubicBezTo>
                  <a:cubicBezTo>
                    <a:pt x="42" y="115"/>
                    <a:pt x="46" y="119"/>
                    <a:pt x="50" y="119"/>
                  </a:cubicBezTo>
                  <a:cubicBezTo>
                    <a:pt x="50" y="119"/>
                    <a:pt x="50" y="119"/>
                    <a:pt x="55" y="119"/>
                  </a:cubicBezTo>
                  <a:cubicBezTo>
                    <a:pt x="55" y="119"/>
                    <a:pt x="55" y="119"/>
                    <a:pt x="55" y="120"/>
                  </a:cubicBezTo>
                  <a:cubicBezTo>
                    <a:pt x="56" y="124"/>
                    <a:pt x="56" y="140"/>
                    <a:pt x="56" y="161"/>
                  </a:cubicBezTo>
                  <a:cubicBezTo>
                    <a:pt x="51" y="158"/>
                    <a:pt x="44" y="153"/>
                    <a:pt x="34" y="148"/>
                  </a:cubicBezTo>
                  <a:cubicBezTo>
                    <a:pt x="34" y="147"/>
                    <a:pt x="34" y="146"/>
                    <a:pt x="34" y="145"/>
                  </a:cubicBezTo>
                  <a:cubicBezTo>
                    <a:pt x="34" y="136"/>
                    <a:pt x="26" y="128"/>
                    <a:pt x="17" y="128"/>
                  </a:cubicBezTo>
                  <a:cubicBezTo>
                    <a:pt x="8" y="128"/>
                    <a:pt x="0" y="136"/>
                    <a:pt x="0" y="145"/>
                  </a:cubicBezTo>
                  <a:cubicBezTo>
                    <a:pt x="0" y="154"/>
                    <a:pt x="8" y="162"/>
                    <a:pt x="17" y="162"/>
                  </a:cubicBezTo>
                  <a:cubicBezTo>
                    <a:pt x="20" y="162"/>
                    <a:pt x="22" y="161"/>
                    <a:pt x="24" y="160"/>
                  </a:cubicBezTo>
                  <a:cubicBezTo>
                    <a:pt x="30" y="163"/>
                    <a:pt x="40" y="169"/>
                    <a:pt x="57" y="178"/>
                  </a:cubicBezTo>
                  <a:cubicBezTo>
                    <a:pt x="59" y="268"/>
                    <a:pt x="61" y="312"/>
                    <a:pt x="66" y="322"/>
                  </a:cubicBezTo>
                  <a:cubicBezTo>
                    <a:pt x="75" y="341"/>
                    <a:pt x="90" y="351"/>
                    <a:pt x="110" y="351"/>
                  </a:cubicBezTo>
                  <a:cubicBezTo>
                    <a:pt x="110" y="351"/>
                    <a:pt x="110" y="351"/>
                    <a:pt x="300" y="351"/>
                  </a:cubicBezTo>
                  <a:cubicBezTo>
                    <a:pt x="320" y="351"/>
                    <a:pt x="335" y="341"/>
                    <a:pt x="344" y="322"/>
                  </a:cubicBezTo>
                  <a:cubicBezTo>
                    <a:pt x="349" y="312"/>
                    <a:pt x="351" y="268"/>
                    <a:pt x="353" y="178"/>
                  </a:cubicBezTo>
                  <a:cubicBezTo>
                    <a:pt x="357" y="176"/>
                    <a:pt x="366" y="171"/>
                    <a:pt x="386" y="160"/>
                  </a:cubicBezTo>
                  <a:cubicBezTo>
                    <a:pt x="388" y="161"/>
                    <a:pt x="390" y="162"/>
                    <a:pt x="393" y="162"/>
                  </a:cubicBezTo>
                  <a:cubicBezTo>
                    <a:pt x="402" y="162"/>
                    <a:pt x="410" y="154"/>
                    <a:pt x="410" y="145"/>
                  </a:cubicBezTo>
                  <a:cubicBezTo>
                    <a:pt x="410" y="136"/>
                    <a:pt x="402" y="128"/>
                    <a:pt x="393" y="128"/>
                  </a:cubicBezTo>
                  <a:close/>
                  <a:moveTo>
                    <a:pt x="194" y="23"/>
                  </a:moveTo>
                  <a:cubicBezTo>
                    <a:pt x="194" y="21"/>
                    <a:pt x="199" y="16"/>
                    <a:pt x="205" y="16"/>
                  </a:cubicBezTo>
                  <a:cubicBezTo>
                    <a:pt x="211" y="16"/>
                    <a:pt x="216" y="21"/>
                    <a:pt x="216" y="23"/>
                  </a:cubicBezTo>
                  <a:cubicBezTo>
                    <a:pt x="216" y="27"/>
                    <a:pt x="216" y="33"/>
                    <a:pt x="216" y="37"/>
                  </a:cubicBezTo>
                  <a:cubicBezTo>
                    <a:pt x="216" y="37"/>
                    <a:pt x="216" y="37"/>
                    <a:pt x="194" y="37"/>
                  </a:cubicBezTo>
                  <a:cubicBezTo>
                    <a:pt x="194" y="33"/>
                    <a:pt x="194" y="27"/>
                    <a:pt x="194" y="23"/>
                  </a:cubicBezTo>
                  <a:close/>
                  <a:moveTo>
                    <a:pt x="173" y="53"/>
                  </a:moveTo>
                  <a:cubicBezTo>
                    <a:pt x="173" y="53"/>
                    <a:pt x="173" y="53"/>
                    <a:pt x="230" y="52"/>
                  </a:cubicBezTo>
                  <a:cubicBezTo>
                    <a:pt x="258" y="55"/>
                    <a:pt x="340" y="78"/>
                    <a:pt x="340" y="103"/>
                  </a:cubicBezTo>
                  <a:cubicBezTo>
                    <a:pt x="340" y="103"/>
                    <a:pt x="340" y="103"/>
                    <a:pt x="70" y="103"/>
                  </a:cubicBezTo>
                  <a:cubicBezTo>
                    <a:pt x="72" y="80"/>
                    <a:pt x="149" y="55"/>
                    <a:pt x="173" y="53"/>
                  </a:cubicBezTo>
                  <a:close/>
                  <a:moveTo>
                    <a:pt x="330" y="315"/>
                  </a:moveTo>
                  <a:cubicBezTo>
                    <a:pt x="323" y="329"/>
                    <a:pt x="314" y="335"/>
                    <a:pt x="300" y="335"/>
                  </a:cubicBezTo>
                  <a:cubicBezTo>
                    <a:pt x="300" y="335"/>
                    <a:pt x="300" y="335"/>
                    <a:pt x="110" y="335"/>
                  </a:cubicBezTo>
                  <a:cubicBezTo>
                    <a:pt x="96" y="335"/>
                    <a:pt x="87" y="329"/>
                    <a:pt x="80" y="315"/>
                  </a:cubicBezTo>
                  <a:cubicBezTo>
                    <a:pt x="76" y="305"/>
                    <a:pt x="74" y="222"/>
                    <a:pt x="73" y="177"/>
                  </a:cubicBezTo>
                  <a:cubicBezTo>
                    <a:pt x="72" y="145"/>
                    <a:pt x="72" y="126"/>
                    <a:pt x="71" y="119"/>
                  </a:cubicBezTo>
                  <a:cubicBezTo>
                    <a:pt x="339" y="119"/>
                    <a:pt x="339" y="119"/>
                    <a:pt x="339" y="119"/>
                  </a:cubicBezTo>
                  <a:cubicBezTo>
                    <a:pt x="338" y="126"/>
                    <a:pt x="338" y="145"/>
                    <a:pt x="337" y="177"/>
                  </a:cubicBezTo>
                  <a:cubicBezTo>
                    <a:pt x="336" y="222"/>
                    <a:pt x="334" y="305"/>
                    <a:pt x="330" y="315"/>
                  </a:cubicBez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21" name="Footer Placeholder 8">
            <a:extLst>
              <a:ext uri="{FF2B5EF4-FFF2-40B4-BE49-F238E27FC236}">
                <a16:creationId xmlns:a16="http://schemas.microsoft.com/office/drawing/2014/main" id="{F747106A-E249-3246-B567-5D41E0659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12054" y="6444137"/>
            <a:ext cx="2278856" cy="190501"/>
          </a:xfrm>
        </p:spPr>
        <p:txBody>
          <a:bodyPr/>
          <a:lstStyle/>
          <a:p>
            <a:r>
              <a:rPr lang="en-GB" dirty="0"/>
              <a:t>CORPORATE PRESENTATION</a:t>
            </a:r>
          </a:p>
        </p:txBody>
      </p:sp>
      <p:sp>
        <p:nvSpPr>
          <p:cNvPr id="222" name="Platshållare för bildnummer 6">
            <a:extLst>
              <a:ext uri="{FF2B5EF4-FFF2-40B4-BE49-F238E27FC236}">
                <a16:creationId xmlns:a16="http://schemas.microsoft.com/office/drawing/2014/main" id="{247D3DA6-7F08-AA49-8EF4-12011C7FF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617BE-BA58-4B59-88D5-A8C7B239E913}" type="slidenum">
              <a:rPr kumimoji="0" lang="en-GB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76" name="Grupp 75">
            <a:extLst>
              <a:ext uri="{FF2B5EF4-FFF2-40B4-BE49-F238E27FC236}">
                <a16:creationId xmlns:a16="http://schemas.microsoft.com/office/drawing/2014/main" id="{5E13EC0D-9F7D-0A4A-AB52-57E062BF8C62}"/>
              </a:ext>
            </a:extLst>
          </p:cNvPr>
          <p:cNvGrpSpPr/>
          <p:nvPr/>
        </p:nvGrpSpPr>
        <p:grpSpPr>
          <a:xfrm>
            <a:off x="6062520" y="2763228"/>
            <a:ext cx="825151" cy="722718"/>
            <a:chOff x="4648251" y="1991186"/>
            <a:chExt cx="920750" cy="806450"/>
          </a:xfrm>
        </p:grpSpPr>
        <p:grpSp>
          <p:nvGrpSpPr>
            <p:cNvPr id="77" name="Grupp 76">
              <a:extLst>
                <a:ext uri="{FF2B5EF4-FFF2-40B4-BE49-F238E27FC236}">
                  <a16:creationId xmlns:a16="http://schemas.microsoft.com/office/drawing/2014/main" id="{4D4A950D-457C-744F-969B-03BE0EF03ADA}"/>
                </a:ext>
              </a:extLst>
            </p:cNvPr>
            <p:cNvGrpSpPr/>
            <p:nvPr/>
          </p:nvGrpSpPr>
          <p:grpSpPr>
            <a:xfrm>
              <a:off x="4961925" y="2162446"/>
              <a:ext cx="319528" cy="311512"/>
              <a:chOff x="1643063" y="5464175"/>
              <a:chExt cx="885825" cy="863601"/>
            </a:xfrm>
          </p:grpSpPr>
          <p:sp>
            <p:nvSpPr>
              <p:cNvPr id="81" name="Freeform 78">
                <a:extLst>
                  <a:ext uri="{FF2B5EF4-FFF2-40B4-BE49-F238E27FC236}">
                    <a16:creationId xmlns:a16="http://schemas.microsoft.com/office/drawing/2014/main" id="{E69567E3-FAF4-254E-9D7C-9C951C9786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3063" y="5538788"/>
                <a:ext cx="679450" cy="788988"/>
              </a:xfrm>
              <a:custGeom>
                <a:avLst/>
                <a:gdLst>
                  <a:gd name="T0" fmla="*/ 201 w 286"/>
                  <a:gd name="T1" fmla="*/ 190 h 332"/>
                  <a:gd name="T2" fmla="*/ 200 w 286"/>
                  <a:gd name="T3" fmla="*/ 190 h 332"/>
                  <a:gd name="T4" fmla="*/ 174 w 286"/>
                  <a:gd name="T5" fmla="*/ 163 h 332"/>
                  <a:gd name="T6" fmla="*/ 174 w 286"/>
                  <a:gd name="T7" fmla="*/ 111 h 332"/>
                  <a:gd name="T8" fmla="*/ 174 w 286"/>
                  <a:gd name="T9" fmla="*/ 8 h 332"/>
                  <a:gd name="T10" fmla="*/ 172 w 286"/>
                  <a:gd name="T11" fmla="*/ 2 h 332"/>
                  <a:gd name="T12" fmla="*/ 166 w 286"/>
                  <a:gd name="T13" fmla="*/ 0 h 332"/>
                  <a:gd name="T14" fmla="*/ 0 w 286"/>
                  <a:gd name="T15" fmla="*/ 166 h 332"/>
                  <a:gd name="T16" fmla="*/ 6 w 286"/>
                  <a:gd name="T17" fmla="*/ 209 h 332"/>
                  <a:gd name="T18" fmla="*/ 23 w 286"/>
                  <a:gd name="T19" fmla="*/ 250 h 332"/>
                  <a:gd name="T20" fmla="*/ 24 w 286"/>
                  <a:gd name="T21" fmla="*/ 252 h 332"/>
                  <a:gd name="T22" fmla="*/ 49 w 286"/>
                  <a:gd name="T23" fmla="*/ 283 h 332"/>
                  <a:gd name="T24" fmla="*/ 49 w 286"/>
                  <a:gd name="T25" fmla="*/ 284 h 332"/>
                  <a:gd name="T26" fmla="*/ 50 w 286"/>
                  <a:gd name="T27" fmla="*/ 285 h 332"/>
                  <a:gd name="T28" fmla="*/ 82 w 286"/>
                  <a:gd name="T29" fmla="*/ 309 h 332"/>
                  <a:gd name="T30" fmla="*/ 84 w 286"/>
                  <a:gd name="T31" fmla="*/ 310 h 332"/>
                  <a:gd name="T32" fmla="*/ 125 w 286"/>
                  <a:gd name="T33" fmla="*/ 327 h 332"/>
                  <a:gd name="T34" fmla="*/ 126 w 286"/>
                  <a:gd name="T35" fmla="*/ 327 h 332"/>
                  <a:gd name="T36" fmla="*/ 166 w 286"/>
                  <a:gd name="T37" fmla="*/ 332 h 332"/>
                  <a:gd name="T38" fmla="*/ 283 w 286"/>
                  <a:gd name="T39" fmla="*/ 284 h 332"/>
                  <a:gd name="T40" fmla="*/ 286 w 286"/>
                  <a:gd name="T41" fmla="*/ 279 h 332"/>
                  <a:gd name="T42" fmla="*/ 283 w 286"/>
                  <a:gd name="T43" fmla="*/ 273 h 332"/>
                  <a:gd name="T44" fmla="*/ 201 w 286"/>
                  <a:gd name="T45" fmla="*/ 190 h 332"/>
                  <a:gd name="T46" fmla="*/ 134 w 286"/>
                  <a:gd name="T47" fmla="*/ 19 h 332"/>
                  <a:gd name="T48" fmla="*/ 19 w 286"/>
                  <a:gd name="T49" fmla="*/ 134 h 332"/>
                  <a:gd name="T50" fmla="*/ 134 w 286"/>
                  <a:gd name="T51" fmla="*/ 19 h 332"/>
                  <a:gd name="T52" fmla="*/ 16 w 286"/>
                  <a:gd name="T53" fmla="*/ 166 h 332"/>
                  <a:gd name="T54" fmla="*/ 16 w 286"/>
                  <a:gd name="T55" fmla="*/ 159 h 332"/>
                  <a:gd name="T56" fmla="*/ 159 w 286"/>
                  <a:gd name="T57" fmla="*/ 16 h 332"/>
                  <a:gd name="T58" fmla="*/ 159 w 286"/>
                  <a:gd name="T59" fmla="*/ 51 h 332"/>
                  <a:gd name="T60" fmla="*/ 18 w 286"/>
                  <a:gd name="T61" fmla="*/ 192 h 332"/>
                  <a:gd name="T62" fmla="*/ 16 w 286"/>
                  <a:gd name="T63" fmla="*/ 166 h 332"/>
                  <a:gd name="T64" fmla="*/ 22 w 286"/>
                  <a:gd name="T65" fmla="*/ 209 h 332"/>
                  <a:gd name="T66" fmla="*/ 159 w 286"/>
                  <a:gd name="T67" fmla="*/ 72 h 332"/>
                  <a:gd name="T68" fmla="*/ 159 w 286"/>
                  <a:gd name="T69" fmla="*/ 108 h 332"/>
                  <a:gd name="T70" fmla="*/ 32 w 286"/>
                  <a:gd name="T71" fmla="*/ 234 h 332"/>
                  <a:gd name="T72" fmla="*/ 22 w 286"/>
                  <a:gd name="T73" fmla="*/ 209 h 332"/>
                  <a:gd name="T74" fmla="*/ 40 w 286"/>
                  <a:gd name="T75" fmla="*/ 248 h 332"/>
                  <a:gd name="T76" fmla="*/ 159 w 286"/>
                  <a:gd name="T77" fmla="*/ 129 h 332"/>
                  <a:gd name="T78" fmla="*/ 159 w 286"/>
                  <a:gd name="T79" fmla="*/ 164 h 332"/>
                  <a:gd name="T80" fmla="*/ 55 w 286"/>
                  <a:gd name="T81" fmla="*/ 268 h 332"/>
                  <a:gd name="T82" fmla="*/ 40 w 286"/>
                  <a:gd name="T83" fmla="*/ 248 h 332"/>
                  <a:gd name="T84" fmla="*/ 66 w 286"/>
                  <a:gd name="T85" fmla="*/ 279 h 332"/>
                  <a:gd name="T86" fmla="*/ 167 w 286"/>
                  <a:gd name="T87" fmla="*/ 178 h 332"/>
                  <a:gd name="T88" fmla="*/ 184 w 286"/>
                  <a:gd name="T89" fmla="*/ 195 h 332"/>
                  <a:gd name="T90" fmla="*/ 86 w 286"/>
                  <a:gd name="T91" fmla="*/ 294 h 332"/>
                  <a:gd name="T92" fmla="*/ 66 w 286"/>
                  <a:gd name="T93" fmla="*/ 279 h 332"/>
                  <a:gd name="T94" fmla="*/ 125 w 286"/>
                  <a:gd name="T95" fmla="*/ 311 h 332"/>
                  <a:gd name="T96" fmla="*/ 100 w 286"/>
                  <a:gd name="T97" fmla="*/ 301 h 332"/>
                  <a:gd name="T98" fmla="*/ 195 w 286"/>
                  <a:gd name="T99" fmla="*/ 206 h 332"/>
                  <a:gd name="T100" fmla="*/ 213 w 286"/>
                  <a:gd name="T101" fmla="*/ 224 h 332"/>
                  <a:gd name="T102" fmla="*/ 125 w 286"/>
                  <a:gd name="T103" fmla="*/ 311 h 332"/>
                  <a:gd name="T104" fmla="*/ 143 w 286"/>
                  <a:gd name="T105" fmla="*/ 315 h 332"/>
                  <a:gd name="T106" fmla="*/ 223 w 286"/>
                  <a:gd name="T107" fmla="*/ 234 h 332"/>
                  <a:gd name="T108" fmla="*/ 241 w 286"/>
                  <a:gd name="T109" fmla="*/ 252 h 332"/>
                  <a:gd name="T110" fmla="*/ 176 w 286"/>
                  <a:gd name="T111" fmla="*/ 317 h 332"/>
                  <a:gd name="T112" fmla="*/ 143 w 286"/>
                  <a:gd name="T113" fmla="*/ 315 h 332"/>
                  <a:gd name="T114" fmla="*/ 201 w 286"/>
                  <a:gd name="T115" fmla="*/ 313 h 332"/>
                  <a:gd name="T116" fmla="*/ 252 w 286"/>
                  <a:gd name="T117" fmla="*/ 263 h 332"/>
                  <a:gd name="T118" fmla="*/ 267 w 286"/>
                  <a:gd name="T119" fmla="*/ 278 h 332"/>
                  <a:gd name="T120" fmla="*/ 201 w 286"/>
                  <a:gd name="T121" fmla="*/ 3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6" h="332">
                    <a:moveTo>
                      <a:pt x="201" y="190"/>
                    </a:moveTo>
                    <a:cubicBezTo>
                      <a:pt x="201" y="190"/>
                      <a:pt x="201" y="190"/>
                      <a:pt x="200" y="190"/>
                    </a:cubicBezTo>
                    <a:cubicBezTo>
                      <a:pt x="200" y="190"/>
                      <a:pt x="200" y="190"/>
                      <a:pt x="174" y="163"/>
                    </a:cubicBezTo>
                    <a:cubicBezTo>
                      <a:pt x="174" y="163"/>
                      <a:pt x="174" y="163"/>
                      <a:pt x="174" y="111"/>
                    </a:cubicBezTo>
                    <a:cubicBezTo>
                      <a:pt x="174" y="111"/>
                      <a:pt x="174" y="111"/>
                      <a:pt x="174" y="8"/>
                    </a:cubicBezTo>
                    <a:cubicBezTo>
                      <a:pt x="174" y="6"/>
                      <a:pt x="173" y="4"/>
                      <a:pt x="172" y="2"/>
                    </a:cubicBezTo>
                    <a:cubicBezTo>
                      <a:pt x="170" y="1"/>
                      <a:pt x="168" y="0"/>
                      <a:pt x="166" y="0"/>
                    </a:cubicBezTo>
                    <a:cubicBezTo>
                      <a:pt x="75" y="0"/>
                      <a:pt x="0" y="75"/>
                      <a:pt x="0" y="166"/>
                    </a:cubicBezTo>
                    <a:cubicBezTo>
                      <a:pt x="0" y="181"/>
                      <a:pt x="2" y="195"/>
                      <a:pt x="6" y="209"/>
                    </a:cubicBezTo>
                    <a:cubicBezTo>
                      <a:pt x="10" y="224"/>
                      <a:pt x="16" y="237"/>
                      <a:pt x="23" y="250"/>
                    </a:cubicBezTo>
                    <a:cubicBezTo>
                      <a:pt x="23" y="251"/>
                      <a:pt x="24" y="251"/>
                      <a:pt x="24" y="252"/>
                    </a:cubicBezTo>
                    <a:cubicBezTo>
                      <a:pt x="31" y="263"/>
                      <a:pt x="39" y="274"/>
                      <a:pt x="49" y="283"/>
                    </a:cubicBezTo>
                    <a:cubicBezTo>
                      <a:pt x="49" y="284"/>
                      <a:pt x="49" y="284"/>
                      <a:pt x="49" y="284"/>
                    </a:cubicBezTo>
                    <a:cubicBezTo>
                      <a:pt x="50" y="284"/>
                      <a:pt x="50" y="285"/>
                      <a:pt x="50" y="285"/>
                    </a:cubicBezTo>
                    <a:cubicBezTo>
                      <a:pt x="60" y="294"/>
                      <a:pt x="71" y="303"/>
                      <a:pt x="82" y="309"/>
                    </a:cubicBezTo>
                    <a:cubicBezTo>
                      <a:pt x="83" y="310"/>
                      <a:pt x="83" y="310"/>
                      <a:pt x="84" y="310"/>
                    </a:cubicBezTo>
                    <a:cubicBezTo>
                      <a:pt x="97" y="318"/>
                      <a:pt x="110" y="323"/>
                      <a:pt x="125" y="327"/>
                    </a:cubicBezTo>
                    <a:cubicBezTo>
                      <a:pt x="125" y="327"/>
                      <a:pt x="125" y="327"/>
                      <a:pt x="126" y="327"/>
                    </a:cubicBezTo>
                    <a:cubicBezTo>
                      <a:pt x="139" y="331"/>
                      <a:pt x="152" y="332"/>
                      <a:pt x="166" y="332"/>
                    </a:cubicBezTo>
                    <a:cubicBezTo>
                      <a:pt x="211" y="332"/>
                      <a:pt x="252" y="315"/>
                      <a:pt x="283" y="284"/>
                    </a:cubicBezTo>
                    <a:cubicBezTo>
                      <a:pt x="285" y="283"/>
                      <a:pt x="286" y="281"/>
                      <a:pt x="286" y="279"/>
                    </a:cubicBezTo>
                    <a:cubicBezTo>
                      <a:pt x="286" y="277"/>
                      <a:pt x="285" y="275"/>
                      <a:pt x="283" y="273"/>
                    </a:cubicBezTo>
                    <a:cubicBezTo>
                      <a:pt x="283" y="273"/>
                      <a:pt x="283" y="273"/>
                      <a:pt x="201" y="190"/>
                    </a:cubicBezTo>
                    <a:close/>
                    <a:moveTo>
                      <a:pt x="134" y="19"/>
                    </a:moveTo>
                    <a:cubicBezTo>
                      <a:pt x="19" y="134"/>
                      <a:pt x="19" y="134"/>
                      <a:pt x="19" y="134"/>
                    </a:cubicBezTo>
                    <a:cubicBezTo>
                      <a:pt x="32" y="77"/>
                      <a:pt x="77" y="31"/>
                      <a:pt x="134" y="19"/>
                    </a:cubicBezTo>
                    <a:close/>
                    <a:moveTo>
                      <a:pt x="16" y="166"/>
                    </a:moveTo>
                    <a:cubicBezTo>
                      <a:pt x="16" y="164"/>
                      <a:pt x="16" y="161"/>
                      <a:pt x="16" y="159"/>
                    </a:cubicBezTo>
                    <a:cubicBezTo>
                      <a:pt x="159" y="16"/>
                      <a:pt x="159" y="16"/>
                      <a:pt x="159" y="16"/>
                    </a:cubicBezTo>
                    <a:cubicBezTo>
                      <a:pt x="159" y="16"/>
                      <a:pt x="159" y="16"/>
                      <a:pt x="159" y="51"/>
                    </a:cubicBezTo>
                    <a:cubicBezTo>
                      <a:pt x="159" y="51"/>
                      <a:pt x="159" y="51"/>
                      <a:pt x="18" y="192"/>
                    </a:cubicBezTo>
                    <a:cubicBezTo>
                      <a:pt x="16" y="184"/>
                      <a:pt x="16" y="175"/>
                      <a:pt x="16" y="166"/>
                    </a:cubicBezTo>
                    <a:close/>
                    <a:moveTo>
                      <a:pt x="22" y="209"/>
                    </a:moveTo>
                    <a:cubicBezTo>
                      <a:pt x="159" y="72"/>
                      <a:pt x="159" y="72"/>
                      <a:pt x="159" y="72"/>
                    </a:cubicBezTo>
                    <a:cubicBezTo>
                      <a:pt x="159" y="72"/>
                      <a:pt x="159" y="72"/>
                      <a:pt x="159" y="108"/>
                    </a:cubicBezTo>
                    <a:cubicBezTo>
                      <a:pt x="159" y="108"/>
                      <a:pt x="159" y="108"/>
                      <a:pt x="32" y="234"/>
                    </a:cubicBezTo>
                    <a:cubicBezTo>
                      <a:pt x="28" y="226"/>
                      <a:pt x="24" y="218"/>
                      <a:pt x="22" y="209"/>
                    </a:cubicBezTo>
                    <a:close/>
                    <a:moveTo>
                      <a:pt x="40" y="248"/>
                    </a:moveTo>
                    <a:cubicBezTo>
                      <a:pt x="159" y="129"/>
                      <a:pt x="159" y="129"/>
                      <a:pt x="159" y="129"/>
                    </a:cubicBezTo>
                    <a:cubicBezTo>
                      <a:pt x="159" y="129"/>
                      <a:pt x="159" y="129"/>
                      <a:pt x="159" y="164"/>
                    </a:cubicBezTo>
                    <a:cubicBezTo>
                      <a:pt x="159" y="164"/>
                      <a:pt x="159" y="164"/>
                      <a:pt x="55" y="268"/>
                    </a:cubicBezTo>
                    <a:cubicBezTo>
                      <a:pt x="49" y="262"/>
                      <a:pt x="44" y="255"/>
                      <a:pt x="40" y="248"/>
                    </a:cubicBezTo>
                    <a:close/>
                    <a:moveTo>
                      <a:pt x="66" y="279"/>
                    </a:moveTo>
                    <a:cubicBezTo>
                      <a:pt x="167" y="178"/>
                      <a:pt x="167" y="178"/>
                      <a:pt x="167" y="178"/>
                    </a:cubicBezTo>
                    <a:cubicBezTo>
                      <a:pt x="167" y="178"/>
                      <a:pt x="167" y="178"/>
                      <a:pt x="184" y="195"/>
                    </a:cubicBezTo>
                    <a:cubicBezTo>
                      <a:pt x="184" y="195"/>
                      <a:pt x="184" y="195"/>
                      <a:pt x="86" y="294"/>
                    </a:cubicBezTo>
                    <a:cubicBezTo>
                      <a:pt x="79" y="289"/>
                      <a:pt x="72" y="284"/>
                      <a:pt x="66" y="279"/>
                    </a:cubicBezTo>
                    <a:close/>
                    <a:moveTo>
                      <a:pt x="125" y="311"/>
                    </a:moveTo>
                    <a:cubicBezTo>
                      <a:pt x="116" y="309"/>
                      <a:pt x="108" y="305"/>
                      <a:pt x="100" y="301"/>
                    </a:cubicBezTo>
                    <a:cubicBezTo>
                      <a:pt x="195" y="206"/>
                      <a:pt x="195" y="206"/>
                      <a:pt x="195" y="206"/>
                    </a:cubicBezTo>
                    <a:cubicBezTo>
                      <a:pt x="195" y="206"/>
                      <a:pt x="195" y="206"/>
                      <a:pt x="213" y="224"/>
                    </a:cubicBezTo>
                    <a:cubicBezTo>
                      <a:pt x="213" y="224"/>
                      <a:pt x="213" y="224"/>
                      <a:pt x="125" y="311"/>
                    </a:cubicBezTo>
                    <a:close/>
                    <a:moveTo>
                      <a:pt x="143" y="315"/>
                    </a:moveTo>
                    <a:cubicBezTo>
                      <a:pt x="223" y="234"/>
                      <a:pt x="223" y="234"/>
                      <a:pt x="223" y="234"/>
                    </a:cubicBezTo>
                    <a:cubicBezTo>
                      <a:pt x="223" y="234"/>
                      <a:pt x="223" y="234"/>
                      <a:pt x="241" y="252"/>
                    </a:cubicBezTo>
                    <a:cubicBezTo>
                      <a:pt x="241" y="252"/>
                      <a:pt x="241" y="252"/>
                      <a:pt x="176" y="317"/>
                    </a:cubicBezTo>
                    <a:cubicBezTo>
                      <a:pt x="165" y="317"/>
                      <a:pt x="153" y="317"/>
                      <a:pt x="143" y="315"/>
                    </a:cubicBezTo>
                    <a:close/>
                    <a:moveTo>
                      <a:pt x="201" y="313"/>
                    </a:moveTo>
                    <a:cubicBezTo>
                      <a:pt x="201" y="313"/>
                      <a:pt x="201" y="313"/>
                      <a:pt x="252" y="263"/>
                    </a:cubicBezTo>
                    <a:cubicBezTo>
                      <a:pt x="267" y="278"/>
                      <a:pt x="267" y="278"/>
                      <a:pt x="267" y="278"/>
                    </a:cubicBezTo>
                    <a:cubicBezTo>
                      <a:pt x="248" y="295"/>
                      <a:pt x="226" y="307"/>
                      <a:pt x="201" y="3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Freeform 79">
                <a:extLst>
                  <a:ext uri="{FF2B5EF4-FFF2-40B4-BE49-F238E27FC236}">
                    <a16:creationId xmlns:a16="http://schemas.microsoft.com/office/drawing/2014/main" id="{54414171-B972-D943-BA4D-9E05E2A03C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16138" y="5905500"/>
                <a:ext cx="412750" cy="304800"/>
              </a:xfrm>
              <a:custGeom>
                <a:avLst/>
                <a:gdLst>
                  <a:gd name="T0" fmla="*/ 166 w 174"/>
                  <a:gd name="T1" fmla="*/ 0 h 129"/>
                  <a:gd name="T2" fmla="*/ 8 w 174"/>
                  <a:gd name="T3" fmla="*/ 0 h 129"/>
                  <a:gd name="T4" fmla="*/ 2 w 174"/>
                  <a:gd name="T5" fmla="*/ 2 h 129"/>
                  <a:gd name="T6" fmla="*/ 0 w 174"/>
                  <a:gd name="T7" fmla="*/ 8 h 129"/>
                  <a:gd name="T8" fmla="*/ 0 w 174"/>
                  <a:gd name="T9" fmla="*/ 9 h 129"/>
                  <a:gd name="T10" fmla="*/ 2 w 174"/>
                  <a:gd name="T11" fmla="*/ 15 h 129"/>
                  <a:gd name="T12" fmla="*/ 114 w 174"/>
                  <a:gd name="T13" fmla="*/ 127 h 129"/>
                  <a:gd name="T14" fmla="*/ 119 w 174"/>
                  <a:gd name="T15" fmla="*/ 129 h 129"/>
                  <a:gd name="T16" fmla="*/ 125 w 174"/>
                  <a:gd name="T17" fmla="*/ 127 h 129"/>
                  <a:gd name="T18" fmla="*/ 174 w 174"/>
                  <a:gd name="T19" fmla="*/ 9 h 129"/>
                  <a:gd name="T20" fmla="*/ 174 w 174"/>
                  <a:gd name="T21" fmla="*/ 8 h 129"/>
                  <a:gd name="T22" fmla="*/ 166 w 174"/>
                  <a:gd name="T23" fmla="*/ 0 h 129"/>
                  <a:gd name="T24" fmla="*/ 119 w 174"/>
                  <a:gd name="T25" fmla="*/ 111 h 129"/>
                  <a:gd name="T26" fmla="*/ 24 w 174"/>
                  <a:gd name="T27" fmla="*/ 15 h 129"/>
                  <a:gd name="T28" fmla="*/ 158 w 174"/>
                  <a:gd name="T29" fmla="*/ 15 h 129"/>
                  <a:gd name="T30" fmla="*/ 119 w 174"/>
                  <a:gd name="T31" fmla="*/ 11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" h="129">
                    <a:moveTo>
                      <a:pt x="166" y="0"/>
                    </a:moveTo>
                    <a:cubicBezTo>
                      <a:pt x="166" y="0"/>
                      <a:pt x="166" y="0"/>
                      <a:pt x="8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4"/>
                      <a:pt x="0" y="6"/>
                      <a:pt x="0" y="8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0" y="11"/>
                      <a:pt x="1" y="13"/>
                      <a:pt x="2" y="15"/>
                    </a:cubicBezTo>
                    <a:cubicBezTo>
                      <a:pt x="2" y="15"/>
                      <a:pt x="2" y="15"/>
                      <a:pt x="114" y="127"/>
                    </a:cubicBezTo>
                    <a:cubicBezTo>
                      <a:pt x="115" y="128"/>
                      <a:pt x="117" y="129"/>
                      <a:pt x="119" y="129"/>
                    </a:cubicBezTo>
                    <a:cubicBezTo>
                      <a:pt x="121" y="129"/>
                      <a:pt x="123" y="128"/>
                      <a:pt x="125" y="127"/>
                    </a:cubicBezTo>
                    <a:cubicBezTo>
                      <a:pt x="156" y="96"/>
                      <a:pt x="174" y="54"/>
                      <a:pt x="174" y="9"/>
                    </a:cubicBezTo>
                    <a:cubicBezTo>
                      <a:pt x="174" y="9"/>
                      <a:pt x="174" y="9"/>
                      <a:pt x="174" y="8"/>
                    </a:cubicBezTo>
                    <a:cubicBezTo>
                      <a:pt x="174" y="3"/>
                      <a:pt x="170" y="0"/>
                      <a:pt x="166" y="0"/>
                    </a:cubicBezTo>
                    <a:close/>
                    <a:moveTo>
                      <a:pt x="119" y="111"/>
                    </a:moveTo>
                    <a:cubicBezTo>
                      <a:pt x="119" y="111"/>
                      <a:pt x="119" y="111"/>
                      <a:pt x="24" y="15"/>
                    </a:cubicBezTo>
                    <a:cubicBezTo>
                      <a:pt x="158" y="15"/>
                      <a:pt x="158" y="15"/>
                      <a:pt x="158" y="15"/>
                    </a:cubicBezTo>
                    <a:cubicBezTo>
                      <a:pt x="157" y="51"/>
                      <a:pt x="143" y="84"/>
                      <a:pt x="119" y="1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Freeform 80">
                <a:extLst>
                  <a:ext uri="{FF2B5EF4-FFF2-40B4-BE49-F238E27FC236}">
                    <a16:creationId xmlns:a16="http://schemas.microsoft.com/office/drawing/2014/main" id="{6001D15D-F132-5C4D-9E90-CF53DDE10E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87563" y="5464175"/>
                <a:ext cx="412750" cy="407988"/>
              </a:xfrm>
              <a:custGeom>
                <a:avLst/>
                <a:gdLst>
                  <a:gd name="T0" fmla="*/ 8 w 174"/>
                  <a:gd name="T1" fmla="*/ 0 h 172"/>
                  <a:gd name="T2" fmla="*/ 0 w 174"/>
                  <a:gd name="T3" fmla="*/ 8 h 172"/>
                  <a:gd name="T4" fmla="*/ 0 w 174"/>
                  <a:gd name="T5" fmla="*/ 164 h 172"/>
                  <a:gd name="T6" fmla="*/ 8 w 174"/>
                  <a:gd name="T7" fmla="*/ 172 h 172"/>
                  <a:gd name="T8" fmla="*/ 166 w 174"/>
                  <a:gd name="T9" fmla="*/ 172 h 172"/>
                  <a:gd name="T10" fmla="*/ 171 w 174"/>
                  <a:gd name="T11" fmla="*/ 170 h 172"/>
                  <a:gd name="T12" fmla="*/ 174 w 174"/>
                  <a:gd name="T13" fmla="*/ 164 h 172"/>
                  <a:gd name="T14" fmla="*/ 8 w 174"/>
                  <a:gd name="T15" fmla="*/ 0 h 172"/>
                  <a:gd name="T16" fmla="*/ 15 w 174"/>
                  <a:gd name="T17" fmla="*/ 157 h 172"/>
                  <a:gd name="T18" fmla="*/ 15 w 174"/>
                  <a:gd name="T19" fmla="*/ 15 h 172"/>
                  <a:gd name="T20" fmla="*/ 158 w 174"/>
                  <a:gd name="T21" fmla="*/ 157 h 172"/>
                  <a:gd name="T22" fmla="*/ 15 w 174"/>
                  <a:gd name="T23" fmla="*/ 157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4" h="172">
                    <a:moveTo>
                      <a:pt x="8" y="0"/>
                    </a:moveTo>
                    <a:cubicBezTo>
                      <a:pt x="3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164"/>
                    </a:cubicBezTo>
                    <a:cubicBezTo>
                      <a:pt x="0" y="169"/>
                      <a:pt x="3" y="172"/>
                      <a:pt x="8" y="172"/>
                    </a:cubicBezTo>
                    <a:cubicBezTo>
                      <a:pt x="8" y="172"/>
                      <a:pt x="8" y="172"/>
                      <a:pt x="166" y="172"/>
                    </a:cubicBezTo>
                    <a:cubicBezTo>
                      <a:pt x="168" y="172"/>
                      <a:pt x="170" y="171"/>
                      <a:pt x="171" y="170"/>
                    </a:cubicBezTo>
                    <a:cubicBezTo>
                      <a:pt x="173" y="168"/>
                      <a:pt x="174" y="166"/>
                      <a:pt x="174" y="164"/>
                    </a:cubicBezTo>
                    <a:cubicBezTo>
                      <a:pt x="173" y="74"/>
                      <a:pt x="98" y="0"/>
                      <a:pt x="8" y="0"/>
                    </a:cubicBezTo>
                    <a:close/>
                    <a:moveTo>
                      <a:pt x="15" y="157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92" y="19"/>
                      <a:pt x="154" y="81"/>
                      <a:pt x="158" y="157"/>
                    </a:cubicBezTo>
                    <a:cubicBezTo>
                      <a:pt x="158" y="157"/>
                      <a:pt x="158" y="157"/>
                      <a:pt x="15" y="15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78" name="Grupp 77">
              <a:extLst>
                <a:ext uri="{FF2B5EF4-FFF2-40B4-BE49-F238E27FC236}">
                  <a16:creationId xmlns:a16="http://schemas.microsoft.com/office/drawing/2014/main" id="{987F4403-3B06-8047-A48B-8AE62657AC8C}"/>
                </a:ext>
              </a:extLst>
            </p:cNvPr>
            <p:cNvGrpSpPr/>
            <p:nvPr/>
          </p:nvGrpSpPr>
          <p:grpSpPr>
            <a:xfrm>
              <a:off x="4648251" y="1991186"/>
              <a:ext cx="920750" cy="806450"/>
              <a:chOff x="8029575" y="3900488"/>
              <a:chExt cx="920750" cy="806450"/>
            </a:xfrm>
          </p:grpSpPr>
          <p:sp>
            <p:nvSpPr>
              <p:cNvPr id="79" name="Freeform 85">
                <a:extLst>
                  <a:ext uri="{FF2B5EF4-FFF2-40B4-BE49-F238E27FC236}">
                    <a16:creationId xmlns:a16="http://schemas.microsoft.com/office/drawing/2014/main" id="{13AB7C1D-2B67-C34E-81F7-E49C65531B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29575" y="3900488"/>
                <a:ext cx="920750" cy="806450"/>
              </a:xfrm>
              <a:custGeom>
                <a:avLst/>
                <a:gdLst>
                  <a:gd name="T0" fmla="*/ 360 w 387"/>
                  <a:gd name="T1" fmla="*/ 0 h 340"/>
                  <a:gd name="T2" fmla="*/ 26 w 387"/>
                  <a:gd name="T3" fmla="*/ 0 h 340"/>
                  <a:gd name="T4" fmla="*/ 0 w 387"/>
                  <a:gd name="T5" fmla="*/ 26 h 340"/>
                  <a:gd name="T6" fmla="*/ 0 w 387"/>
                  <a:gd name="T7" fmla="*/ 256 h 340"/>
                  <a:gd name="T8" fmla="*/ 26 w 387"/>
                  <a:gd name="T9" fmla="*/ 283 h 340"/>
                  <a:gd name="T10" fmla="*/ 152 w 387"/>
                  <a:gd name="T11" fmla="*/ 283 h 340"/>
                  <a:gd name="T12" fmla="*/ 152 w 387"/>
                  <a:gd name="T13" fmla="*/ 325 h 340"/>
                  <a:gd name="T14" fmla="*/ 97 w 387"/>
                  <a:gd name="T15" fmla="*/ 325 h 340"/>
                  <a:gd name="T16" fmla="*/ 89 w 387"/>
                  <a:gd name="T17" fmla="*/ 333 h 340"/>
                  <a:gd name="T18" fmla="*/ 97 w 387"/>
                  <a:gd name="T19" fmla="*/ 340 h 340"/>
                  <a:gd name="T20" fmla="*/ 290 w 387"/>
                  <a:gd name="T21" fmla="*/ 340 h 340"/>
                  <a:gd name="T22" fmla="*/ 297 w 387"/>
                  <a:gd name="T23" fmla="*/ 333 h 340"/>
                  <a:gd name="T24" fmla="*/ 290 w 387"/>
                  <a:gd name="T25" fmla="*/ 325 h 340"/>
                  <a:gd name="T26" fmla="*/ 235 w 387"/>
                  <a:gd name="T27" fmla="*/ 325 h 340"/>
                  <a:gd name="T28" fmla="*/ 235 w 387"/>
                  <a:gd name="T29" fmla="*/ 283 h 340"/>
                  <a:gd name="T30" fmla="*/ 360 w 387"/>
                  <a:gd name="T31" fmla="*/ 283 h 340"/>
                  <a:gd name="T32" fmla="*/ 387 w 387"/>
                  <a:gd name="T33" fmla="*/ 256 h 340"/>
                  <a:gd name="T34" fmla="*/ 387 w 387"/>
                  <a:gd name="T35" fmla="*/ 26 h 340"/>
                  <a:gd name="T36" fmla="*/ 360 w 387"/>
                  <a:gd name="T37" fmla="*/ 0 h 340"/>
                  <a:gd name="T38" fmla="*/ 220 w 387"/>
                  <a:gd name="T39" fmla="*/ 325 h 340"/>
                  <a:gd name="T40" fmla="*/ 167 w 387"/>
                  <a:gd name="T41" fmla="*/ 325 h 340"/>
                  <a:gd name="T42" fmla="*/ 167 w 387"/>
                  <a:gd name="T43" fmla="*/ 283 h 340"/>
                  <a:gd name="T44" fmla="*/ 220 w 387"/>
                  <a:gd name="T45" fmla="*/ 283 h 340"/>
                  <a:gd name="T46" fmla="*/ 220 w 387"/>
                  <a:gd name="T47" fmla="*/ 325 h 340"/>
                  <a:gd name="T48" fmla="*/ 372 w 387"/>
                  <a:gd name="T49" fmla="*/ 256 h 340"/>
                  <a:gd name="T50" fmla="*/ 360 w 387"/>
                  <a:gd name="T51" fmla="*/ 268 h 340"/>
                  <a:gd name="T52" fmla="*/ 26 w 387"/>
                  <a:gd name="T53" fmla="*/ 268 h 340"/>
                  <a:gd name="T54" fmla="*/ 15 w 387"/>
                  <a:gd name="T55" fmla="*/ 256 h 340"/>
                  <a:gd name="T56" fmla="*/ 15 w 387"/>
                  <a:gd name="T57" fmla="*/ 26 h 340"/>
                  <a:gd name="T58" fmla="*/ 26 w 387"/>
                  <a:gd name="T59" fmla="*/ 15 h 340"/>
                  <a:gd name="T60" fmla="*/ 360 w 387"/>
                  <a:gd name="T61" fmla="*/ 15 h 340"/>
                  <a:gd name="T62" fmla="*/ 372 w 387"/>
                  <a:gd name="T63" fmla="*/ 26 h 340"/>
                  <a:gd name="T64" fmla="*/ 372 w 387"/>
                  <a:gd name="T65" fmla="*/ 256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7" h="340">
                    <a:moveTo>
                      <a:pt x="360" y="0"/>
                    </a:moveTo>
                    <a:cubicBezTo>
                      <a:pt x="360" y="0"/>
                      <a:pt x="360" y="0"/>
                      <a:pt x="26" y="0"/>
                    </a:cubicBezTo>
                    <a:cubicBezTo>
                      <a:pt x="12" y="0"/>
                      <a:pt x="0" y="12"/>
                      <a:pt x="0" y="26"/>
                    </a:cubicBezTo>
                    <a:cubicBezTo>
                      <a:pt x="0" y="26"/>
                      <a:pt x="0" y="26"/>
                      <a:pt x="0" y="256"/>
                    </a:cubicBezTo>
                    <a:cubicBezTo>
                      <a:pt x="0" y="271"/>
                      <a:pt x="12" y="283"/>
                      <a:pt x="26" y="283"/>
                    </a:cubicBezTo>
                    <a:cubicBezTo>
                      <a:pt x="26" y="283"/>
                      <a:pt x="26" y="283"/>
                      <a:pt x="152" y="283"/>
                    </a:cubicBezTo>
                    <a:cubicBezTo>
                      <a:pt x="152" y="289"/>
                      <a:pt x="152" y="301"/>
                      <a:pt x="152" y="325"/>
                    </a:cubicBezTo>
                    <a:cubicBezTo>
                      <a:pt x="152" y="325"/>
                      <a:pt x="152" y="325"/>
                      <a:pt x="97" y="325"/>
                    </a:cubicBezTo>
                    <a:cubicBezTo>
                      <a:pt x="93" y="325"/>
                      <a:pt x="89" y="329"/>
                      <a:pt x="89" y="333"/>
                    </a:cubicBezTo>
                    <a:cubicBezTo>
                      <a:pt x="89" y="337"/>
                      <a:pt x="93" y="340"/>
                      <a:pt x="97" y="340"/>
                    </a:cubicBezTo>
                    <a:cubicBezTo>
                      <a:pt x="97" y="340"/>
                      <a:pt x="97" y="340"/>
                      <a:pt x="290" y="340"/>
                    </a:cubicBezTo>
                    <a:cubicBezTo>
                      <a:pt x="294" y="340"/>
                      <a:pt x="297" y="337"/>
                      <a:pt x="297" y="333"/>
                    </a:cubicBezTo>
                    <a:cubicBezTo>
                      <a:pt x="297" y="329"/>
                      <a:pt x="294" y="325"/>
                      <a:pt x="290" y="325"/>
                    </a:cubicBezTo>
                    <a:cubicBezTo>
                      <a:pt x="290" y="325"/>
                      <a:pt x="290" y="325"/>
                      <a:pt x="235" y="325"/>
                    </a:cubicBezTo>
                    <a:cubicBezTo>
                      <a:pt x="235" y="325"/>
                      <a:pt x="235" y="325"/>
                      <a:pt x="235" y="283"/>
                    </a:cubicBezTo>
                    <a:cubicBezTo>
                      <a:pt x="270" y="283"/>
                      <a:pt x="311" y="283"/>
                      <a:pt x="360" y="283"/>
                    </a:cubicBezTo>
                    <a:cubicBezTo>
                      <a:pt x="375" y="283"/>
                      <a:pt x="387" y="271"/>
                      <a:pt x="387" y="256"/>
                    </a:cubicBezTo>
                    <a:cubicBezTo>
                      <a:pt x="387" y="256"/>
                      <a:pt x="387" y="256"/>
                      <a:pt x="387" y="26"/>
                    </a:cubicBezTo>
                    <a:cubicBezTo>
                      <a:pt x="387" y="12"/>
                      <a:pt x="375" y="0"/>
                      <a:pt x="360" y="0"/>
                    </a:cubicBezTo>
                    <a:close/>
                    <a:moveTo>
                      <a:pt x="220" y="325"/>
                    </a:moveTo>
                    <a:cubicBezTo>
                      <a:pt x="220" y="325"/>
                      <a:pt x="220" y="325"/>
                      <a:pt x="167" y="325"/>
                    </a:cubicBezTo>
                    <a:cubicBezTo>
                      <a:pt x="167" y="325"/>
                      <a:pt x="167" y="325"/>
                      <a:pt x="167" y="283"/>
                    </a:cubicBezTo>
                    <a:cubicBezTo>
                      <a:pt x="182" y="283"/>
                      <a:pt x="200" y="283"/>
                      <a:pt x="220" y="283"/>
                    </a:cubicBezTo>
                    <a:cubicBezTo>
                      <a:pt x="220" y="289"/>
                      <a:pt x="220" y="301"/>
                      <a:pt x="220" y="325"/>
                    </a:cubicBezTo>
                    <a:close/>
                    <a:moveTo>
                      <a:pt x="372" y="256"/>
                    </a:moveTo>
                    <a:cubicBezTo>
                      <a:pt x="372" y="262"/>
                      <a:pt x="367" y="268"/>
                      <a:pt x="360" y="268"/>
                    </a:cubicBezTo>
                    <a:cubicBezTo>
                      <a:pt x="360" y="268"/>
                      <a:pt x="360" y="268"/>
                      <a:pt x="26" y="268"/>
                    </a:cubicBezTo>
                    <a:cubicBezTo>
                      <a:pt x="20" y="268"/>
                      <a:pt x="15" y="262"/>
                      <a:pt x="15" y="256"/>
                    </a:cubicBezTo>
                    <a:cubicBezTo>
                      <a:pt x="15" y="256"/>
                      <a:pt x="15" y="256"/>
                      <a:pt x="15" y="26"/>
                    </a:cubicBezTo>
                    <a:cubicBezTo>
                      <a:pt x="15" y="20"/>
                      <a:pt x="20" y="15"/>
                      <a:pt x="26" y="15"/>
                    </a:cubicBezTo>
                    <a:cubicBezTo>
                      <a:pt x="360" y="15"/>
                      <a:pt x="360" y="15"/>
                      <a:pt x="360" y="15"/>
                    </a:cubicBezTo>
                    <a:cubicBezTo>
                      <a:pt x="367" y="15"/>
                      <a:pt x="372" y="20"/>
                      <a:pt x="372" y="26"/>
                    </a:cubicBezTo>
                    <a:cubicBezTo>
                      <a:pt x="372" y="26"/>
                      <a:pt x="372" y="26"/>
                      <a:pt x="372" y="25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 86">
                <a:extLst>
                  <a:ext uri="{FF2B5EF4-FFF2-40B4-BE49-F238E27FC236}">
                    <a16:creationId xmlns:a16="http://schemas.microsoft.com/office/drawing/2014/main" id="{15494390-392F-DD42-9352-29EE343BD3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94663" y="3962400"/>
                <a:ext cx="790575" cy="544513"/>
              </a:xfrm>
              <a:custGeom>
                <a:avLst/>
                <a:gdLst>
                  <a:gd name="T0" fmla="*/ 325 w 333"/>
                  <a:gd name="T1" fmla="*/ 0 h 230"/>
                  <a:gd name="T2" fmla="*/ 7 w 333"/>
                  <a:gd name="T3" fmla="*/ 0 h 230"/>
                  <a:gd name="T4" fmla="*/ 0 w 333"/>
                  <a:gd name="T5" fmla="*/ 8 h 230"/>
                  <a:gd name="T6" fmla="*/ 0 w 333"/>
                  <a:gd name="T7" fmla="*/ 223 h 230"/>
                  <a:gd name="T8" fmla="*/ 7 w 333"/>
                  <a:gd name="T9" fmla="*/ 230 h 230"/>
                  <a:gd name="T10" fmla="*/ 325 w 333"/>
                  <a:gd name="T11" fmla="*/ 230 h 230"/>
                  <a:gd name="T12" fmla="*/ 333 w 333"/>
                  <a:gd name="T13" fmla="*/ 223 h 230"/>
                  <a:gd name="T14" fmla="*/ 333 w 333"/>
                  <a:gd name="T15" fmla="*/ 8 h 230"/>
                  <a:gd name="T16" fmla="*/ 325 w 333"/>
                  <a:gd name="T17" fmla="*/ 0 h 230"/>
                  <a:gd name="T18" fmla="*/ 318 w 333"/>
                  <a:gd name="T19" fmla="*/ 215 h 230"/>
                  <a:gd name="T20" fmla="*/ 15 w 333"/>
                  <a:gd name="T21" fmla="*/ 215 h 230"/>
                  <a:gd name="T22" fmla="*/ 15 w 333"/>
                  <a:gd name="T23" fmla="*/ 15 h 230"/>
                  <a:gd name="T24" fmla="*/ 318 w 333"/>
                  <a:gd name="T25" fmla="*/ 15 h 230"/>
                  <a:gd name="T26" fmla="*/ 318 w 333"/>
                  <a:gd name="T27" fmla="*/ 215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3" h="230">
                    <a:moveTo>
                      <a:pt x="325" y="0"/>
                    </a:moveTo>
                    <a:cubicBezTo>
                      <a:pt x="325" y="0"/>
                      <a:pt x="325" y="0"/>
                      <a:pt x="7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23"/>
                    </a:cubicBezTo>
                    <a:cubicBezTo>
                      <a:pt x="0" y="227"/>
                      <a:pt x="3" y="230"/>
                      <a:pt x="7" y="230"/>
                    </a:cubicBezTo>
                    <a:cubicBezTo>
                      <a:pt x="7" y="230"/>
                      <a:pt x="7" y="230"/>
                      <a:pt x="325" y="230"/>
                    </a:cubicBezTo>
                    <a:cubicBezTo>
                      <a:pt x="330" y="230"/>
                      <a:pt x="333" y="227"/>
                      <a:pt x="333" y="223"/>
                    </a:cubicBezTo>
                    <a:cubicBezTo>
                      <a:pt x="333" y="223"/>
                      <a:pt x="333" y="223"/>
                      <a:pt x="333" y="8"/>
                    </a:cubicBezTo>
                    <a:cubicBezTo>
                      <a:pt x="333" y="3"/>
                      <a:pt x="330" y="0"/>
                      <a:pt x="325" y="0"/>
                    </a:cubicBezTo>
                    <a:close/>
                    <a:moveTo>
                      <a:pt x="318" y="215"/>
                    </a:moveTo>
                    <a:cubicBezTo>
                      <a:pt x="318" y="215"/>
                      <a:pt x="318" y="215"/>
                      <a:pt x="15" y="2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5" y="15"/>
                      <a:pt x="15" y="15"/>
                      <a:pt x="318" y="15"/>
                    </a:cubicBezTo>
                    <a:cubicBezTo>
                      <a:pt x="318" y="15"/>
                      <a:pt x="318" y="15"/>
                      <a:pt x="318" y="21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E1DD0C60-A196-8C43-9579-19B39685DD96}"/>
              </a:ext>
            </a:extLst>
          </p:cNvPr>
          <p:cNvGrpSpPr/>
          <p:nvPr/>
        </p:nvGrpSpPr>
        <p:grpSpPr>
          <a:xfrm>
            <a:off x="6149598" y="1577937"/>
            <a:ext cx="715914" cy="778535"/>
            <a:chOff x="6717729" y="2865685"/>
            <a:chExt cx="335108" cy="364420"/>
          </a:xfrm>
        </p:grpSpPr>
        <p:grpSp>
          <p:nvGrpSpPr>
            <p:cNvPr id="57" name="Grupp 56">
              <a:extLst>
                <a:ext uri="{FF2B5EF4-FFF2-40B4-BE49-F238E27FC236}">
                  <a16:creationId xmlns:a16="http://schemas.microsoft.com/office/drawing/2014/main" id="{E64D3468-CF50-BC44-883D-3B1181952D9A}"/>
                </a:ext>
              </a:extLst>
            </p:cNvPr>
            <p:cNvGrpSpPr/>
            <p:nvPr/>
          </p:nvGrpSpPr>
          <p:grpSpPr>
            <a:xfrm>
              <a:off x="6717729" y="2965691"/>
              <a:ext cx="267873" cy="264414"/>
              <a:chOff x="11260138" y="2227263"/>
              <a:chExt cx="860425" cy="849313"/>
            </a:xfrm>
          </p:grpSpPr>
          <p:sp>
            <p:nvSpPr>
              <p:cNvPr id="58" name="Freeform 89">
                <a:extLst>
                  <a:ext uri="{FF2B5EF4-FFF2-40B4-BE49-F238E27FC236}">
                    <a16:creationId xmlns:a16="http://schemas.microsoft.com/office/drawing/2014/main" id="{0590FF0E-2F91-D741-9401-E82CFE7DC9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60138" y="2227263"/>
                <a:ext cx="860425" cy="849313"/>
              </a:xfrm>
              <a:custGeom>
                <a:avLst/>
                <a:gdLst>
                  <a:gd name="T0" fmla="*/ 341 w 372"/>
                  <a:gd name="T1" fmla="*/ 78 h 368"/>
                  <a:gd name="T2" fmla="*/ 270 w 372"/>
                  <a:gd name="T3" fmla="*/ 78 h 368"/>
                  <a:gd name="T4" fmla="*/ 270 w 372"/>
                  <a:gd name="T5" fmla="*/ 43 h 368"/>
                  <a:gd name="T6" fmla="*/ 271 w 372"/>
                  <a:gd name="T7" fmla="*/ 31 h 368"/>
                  <a:gd name="T8" fmla="*/ 263 w 372"/>
                  <a:gd name="T9" fmla="*/ 9 h 368"/>
                  <a:gd name="T10" fmla="*/ 238 w 372"/>
                  <a:gd name="T11" fmla="*/ 0 h 368"/>
                  <a:gd name="T12" fmla="*/ 31 w 372"/>
                  <a:gd name="T13" fmla="*/ 0 h 368"/>
                  <a:gd name="T14" fmla="*/ 0 w 372"/>
                  <a:gd name="T15" fmla="*/ 31 h 368"/>
                  <a:gd name="T16" fmla="*/ 0 w 372"/>
                  <a:gd name="T17" fmla="*/ 276 h 368"/>
                  <a:gd name="T18" fmla="*/ 31 w 372"/>
                  <a:gd name="T19" fmla="*/ 307 h 368"/>
                  <a:gd name="T20" fmla="*/ 192 w 372"/>
                  <a:gd name="T21" fmla="*/ 307 h 368"/>
                  <a:gd name="T22" fmla="*/ 192 w 372"/>
                  <a:gd name="T23" fmla="*/ 338 h 368"/>
                  <a:gd name="T24" fmla="*/ 221 w 372"/>
                  <a:gd name="T25" fmla="*/ 368 h 368"/>
                  <a:gd name="T26" fmla="*/ 341 w 372"/>
                  <a:gd name="T27" fmla="*/ 368 h 368"/>
                  <a:gd name="T28" fmla="*/ 370 w 372"/>
                  <a:gd name="T29" fmla="*/ 338 h 368"/>
                  <a:gd name="T30" fmla="*/ 372 w 372"/>
                  <a:gd name="T31" fmla="*/ 119 h 368"/>
                  <a:gd name="T32" fmla="*/ 372 w 372"/>
                  <a:gd name="T33" fmla="*/ 107 h 368"/>
                  <a:gd name="T34" fmla="*/ 365 w 372"/>
                  <a:gd name="T35" fmla="*/ 86 h 368"/>
                  <a:gd name="T36" fmla="*/ 341 w 372"/>
                  <a:gd name="T37" fmla="*/ 78 h 368"/>
                  <a:gd name="T38" fmla="*/ 16 w 372"/>
                  <a:gd name="T39" fmla="*/ 31 h 368"/>
                  <a:gd name="T40" fmla="*/ 31 w 372"/>
                  <a:gd name="T41" fmla="*/ 16 h 368"/>
                  <a:gd name="T42" fmla="*/ 238 w 372"/>
                  <a:gd name="T43" fmla="*/ 16 h 368"/>
                  <a:gd name="T44" fmla="*/ 252 w 372"/>
                  <a:gd name="T45" fmla="*/ 20 h 368"/>
                  <a:gd name="T46" fmla="*/ 255 w 372"/>
                  <a:gd name="T47" fmla="*/ 30 h 368"/>
                  <a:gd name="T48" fmla="*/ 255 w 372"/>
                  <a:gd name="T49" fmla="*/ 34 h 368"/>
                  <a:gd name="T50" fmla="*/ 16 w 372"/>
                  <a:gd name="T51" fmla="*/ 34 h 368"/>
                  <a:gd name="T52" fmla="*/ 16 w 372"/>
                  <a:gd name="T53" fmla="*/ 31 h 368"/>
                  <a:gd name="T54" fmla="*/ 192 w 372"/>
                  <a:gd name="T55" fmla="*/ 292 h 368"/>
                  <a:gd name="T56" fmla="*/ 31 w 372"/>
                  <a:gd name="T57" fmla="*/ 292 h 368"/>
                  <a:gd name="T58" fmla="*/ 16 w 372"/>
                  <a:gd name="T59" fmla="*/ 276 h 368"/>
                  <a:gd name="T60" fmla="*/ 16 w 372"/>
                  <a:gd name="T61" fmla="*/ 249 h 368"/>
                  <a:gd name="T62" fmla="*/ 192 w 372"/>
                  <a:gd name="T63" fmla="*/ 249 h 368"/>
                  <a:gd name="T64" fmla="*/ 192 w 372"/>
                  <a:gd name="T65" fmla="*/ 292 h 368"/>
                  <a:gd name="T66" fmla="*/ 192 w 372"/>
                  <a:gd name="T67" fmla="*/ 107 h 368"/>
                  <a:gd name="T68" fmla="*/ 192 w 372"/>
                  <a:gd name="T69" fmla="*/ 234 h 368"/>
                  <a:gd name="T70" fmla="*/ 16 w 372"/>
                  <a:gd name="T71" fmla="*/ 234 h 368"/>
                  <a:gd name="T72" fmla="*/ 16 w 372"/>
                  <a:gd name="T73" fmla="*/ 50 h 368"/>
                  <a:gd name="T74" fmla="*/ 255 w 372"/>
                  <a:gd name="T75" fmla="*/ 50 h 368"/>
                  <a:gd name="T76" fmla="*/ 255 w 372"/>
                  <a:gd name="T77" fmla="*/ 78 h 368"/>
                  <a:gd name="T78" fmla="*/ 221 w 372"/>
                  <a:gd name="T79" fmla="*/ 78 h 368"/>
                  <a:gd name="T80" fmla="*/ 192 w 372"/>
                  <a:gd name="T81" fmla="*/ 107 h 368"/>
                  <a:gd name="T82" fmla="*/ 355 w 372"/>
                  <a:gd name="T83" fmla="*/ 338 h 368"/>
                  <a:gd name="T84" fmla="*/ 341 w 372"/>
                  <a:gd name="T85" fmla="*/ 352 h 368"/>
                  <a:gd name="T86" fmla="*/ 221 w 372"/>
                  <a:gd name="T87" fmla="*/ 352 h 368"/>
                  <a:gd name="T88" fmla="*/ 208 w 372"/>
                  <a:gd name="T89" fmla="*/ 338 h 368"/>
                  <a:gd name="T90" fmla="*/ 208 w 372"/>
                  <a:gd name="T91" fmla="*/ 310 h 368"/>
                  <a:gd name="T92" fmla="*/ 355 w 372"/>
                  <a:gd name="T93" fmla="*/ 310 h 368"/>
                  <a:gd name="T94" fmla="*/ 355 w 372"/>
                  <a:gd name="T95" fmla="*/ 338 h 368"/>
                  <a:gd name="T96" fmla="*/ 355 w 372"/>
                  <a:gd name="T97" fmla="*/ 294 h 368"/>
                  <a:gd name="T98" fmla="*/ 208 w 372"/>
                  <a:gd name="T99" fmla="*/ 294 h 368"/>
                  <a:gd name="T100" fmla="*/ 208 w 372"/>
                  <a:gd name="T101" fmla="*/ 128 h 368"/>
                  <a:gd name="T102" fmla="*/ 356 w 372"/>
                  <a:gd name="T103" fmla="*/ 128 h 368"/>
                  <a:gd name="T104" fmla="*/ 355 w 372"/>
                  <a:gd name="T105" fmla="*/ 294 h 368"/>
                  <a:gd name="T106" fmla="*/ 356 w 372"/>
                  <a:gd name="T107" fmla="*/ 113 h 368"/>
                  <a:gd name="T108" fmla="*/ 208 w 372"/>
                  <a:gd name="T109" fmla="*/ 113 h 368"/>
                  <a:gd name="T110" fmla="*/ 208 w 372"/>
                  <a:gd name="T111" fmla="*/ 107 h 368"/>
                  <a:gd name="T112" fmla="*/ 221 w 372"/>
                  <a:gd name="T113" fmla="*/ 93 h 368"/>
                  <a:gd name="T114" fmla="*/ 341 w 372"/>
                  <a:gd name="T115" fmla="*/ 93 h 368"/>
                  <a:gd name="T116" fmla="*/ 354 w 372"/>
                  <a:gd name="T117" fmla="*/ 97 h 368"/>
                  <a:gd name="T118" fmla="*/ 356 w 372"/>
                  <a:gd name="T119" fmla="*/ 107 h 368"/>
                  <a:gd name="T120" fmla="*/ 356 w 372"/>
                  <a:gd name="T121" fmla="*/ 113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2" h="368">
                    <a:moveTo>
                      <a:pt x="341" y="78"/>
                    </a:moveTo>
                    <a:cubicBezTo>
                      <a:pt x="341" y="78"/>
                      <a:pt x="341" y="78"/>
                      <a:pt x="270" y="78"/>
                    </a:cubicBezTo>
                    <a:cubicBezTo>
                      <a:pt x="270" y="78"/>
                      <a:pt x="270" y="78"/>
                      <a:pt x="270" y="43"/>
                    </a:cubicBezTo>
                    <a:cubicBezTo>
                      <a:pt x="270" y="43"/>
                      <a:pt x="270" y="43"/>
                      <a:pt x="271" y="31"/>
                    </a:cubicBezTo>
                    <a:cubicBezTo>
                      <a:pt x="271" y="22"/>
                      <a:pt x="269" y="15"/>
                      <a:pt x="263" y="9"/>
                    </a:cubicBezTo>
                    <a:cubicBezTo>
                      <a:pt x="256" y="2"/>
                      <a:pt x="246" y="0"/>
                      <a:pt x="238" y="0"/>
                    </a:cubicBezTo>
                    <a:cubicBezTo>
                      <a:pt x="238" y="0"/>
                      <a:pt x="238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31"/>
                      <a:pt x="0" y="31"/>
                      <a:pt x="0" y="276"/>
                    </a:cubicBezTo>
                    <a:cubicBezTo>
                      <a:pt x="0" y="293"/>
                      <a:pt x="14" y="307"/>
                      <a:pt x="31" y="307"/>
                    </a:cubicBezTo>
                    <a:cubicBezTo>
                      <a:pt x="31" y="307"/>
                      <a:pt x="31" y="307"/>
                      <a:pt x="192" y="307"/>
                    </a:cubicBezTo>
                    <a:cubicBezTo>
                      <a:pt x="192" y="307"/>
                      <a:pt x="192" y="307"/>
                      <a:pt x="192" y="338"/>
                    </a:cubicBezTo>
                    <a:cubicBezTo>
                      <a:pt x="192" y="354"/>
                      <a:pt x="205" y="368"/>
                      <a:pt x="221" y="368"/>
                    </a:cubicBezTo>
                    <a:cubicBezTo>
                      <a:pt x="221" y="368"/>
                      <a:pt x="221" y="368"/>
                      <a:pt x="341" y="368"/>
                    </a:cubicBezTo>
                    <a:cubicBezTo>
                      <a:pt x="357" y="368"/>
                      <a:pt x="370" y="354"/>
                      <a:pt x="370" y="338"/>
                    </a:cubicBezTo>
                    <a:cubicBezTo>
                      <a:pt x="370" y="338"/>
                      <a:pt x="370" y="338"/>
                      <a:pt x="372" y="119"/>
                    </a:cubicBezTo>
                    <a:cubicBezTo>
                      <a:pt x="372" y="119"/>
                      <a:pt x="372" y="119"/>
                      <a:pt x="372" y="107"/>
                    </a:cubicBezTo>
                    <a:cubicBezTo>
                      <a:pt x="372" y="98"/>
                      <a:pt x="370" y="91"/>
                      <a:pt x="365" y="86"/>
                    </a:cubicBezTo>
                    <a:cubicBezTo>
                      <a:pt x="358" y="79"/>
                      <a:pt x="348" y="78"/>
                      <a:pt x="341" y="78"/>
                    </a:cubicBezTo>
                    <a:close/>
                    <a:moveTo>
                      <a:pt x="16" y="31"/>
                    </a:moveTo>
                    <a:cubicBezTo>
                      <a:pt x="16" y="23"/>
                      <a:pt x="22" y="16"/>
                      <a:pt x="31" y="16"/>
                    </a:cubicBezTo>
                    <a:cubicBezTo>
                      <a:pt x="31" y="16"/>
                      <a:pt x="31" y="16"/>
                      <a:pt x="238" y="16"/>
                    </a:cubicBezTo>
                    <a:cubicBezTo>
                      <a:pt x="242" y="16"/>
                      <a:pt x="249" y="16"/>
                      <a:pt x="252" y="20"/>
                    </a:cubicBezTo>
                    <a:cubicBezTo>
                      <a:pt x="254" y="22"/>
                      <a:pt x="255" y="26"/>
                      <a:pt x="255" y="30"/>
                    </a:cubicBezTo>
                    <a:cubicBezTo>
                      <a:pt x="255" y="30"/>
                      <a:pt x="255" y="30"/>
                      <a:pt x="255" y="34"/>
                    </a:cubicBezTo>
                    <a:cubicBezTo>
                      <a:pt x="255" y="34"/>
                      <a:pt x="255" y="34"/>
                      <a:pt x="16" y="34"/>
                    </a:cubicBezTo>
                    <a:lnTo>
                      <a:pt x="16" y="31"/>
                    </a:lnTo>
                    <a:close/>
                    <a:moveTo>
                      <a:pt x="192" y="292"/>
                    </a:moveTo>
                    <a:cubicBezTo>
                      <a:pt x="192" y="292"/>
                      <a:pt x="192" y="292"/>
                      <a:pt x="31" y="292"/>
                    </a:cubicBezTo>
                    <a:cubicBezTo>
                      <a:pt x="22" y="292"/>
                      <a:pt x="16" y="285"/>
                      <a:pt x="16" y="276"/>
                    </a:cubicBezTo>
                    <a:cubicBezTo>
                      <a:pt x="16" y="276"/>
                      <a:pt x="16" y="276"/>
                      <a:pt x="16" y="249"/>
                    </a:cubicBezTo>
                    <a:cubicBezTo>
                      <a:pt x="192" y="249"/>
                      <a:pt x="192" y="249"/>
                      <a:pt x="192" y="249"/>
                    </a:cubicBezTo>
                    <a:cubicBezTo>
                      <a:pt x="192" y="249"/>
                      <a:pt x="192" y="249"/>
                      <a:pt x="192" y="292"/>
                    </a:cubicBezTo>
                    <a:close/>
                    <a:moveTo>
                      <a:pt x="192" y="107"/>
                    </a:moveTo>
                    <a:cubicBezTo>
                      <a:pt x="192" y="107"/>
                      <a:pt x="192" y="107"/>
                      <a:pt x="192" y="234"/>
                    </a:cubicBezTo>
                    <a:cubicBezTo>
                      <a:pt x="192" y="234"/>
                      <a:pt x="192" y="234"/>
                      <a:pt x="16" y="234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6" y="50"/>
                      <a:pt x="16" y="50"/>
                      <a:pt x="255" y="50"/>
                    </a:cubicBezTo>
                    <a:cubicBezTo>
                      <a:pt x="255" y="50"/>
                      <a:pt x="255" y="50"/>
                      <a:pt x="255" y="78"/>
                    </a:cubicBezTo>
                    <a:cubicBezTo>
                      <a:pt x="255" y="78"/>
                      <a:pt x="255" y="78"/>
                      <a:pt x="221" y="78"/>
                    </a:cubicBezTo>
                    <a:cubicBezTo>
                      <a:pt x="205" y="78"/>
                      <a:pt x="192" y="91"/>
                      <a:pt x="192" y="107"/>
                    </a:cubicBezTo>
                    <a:close/>
                    <a:moveTo>
                      <a:pt x="355" y="338"/>
                    </a:moveTo>
                    <a:cubicBezTo>
                      <a:pt x="354" y="346"/>
                      <a:pt x="349" y="352"/>
                      <a:pt x="341" y="352"/>
                    </a:cubicBezTo>
                    <a:cubicBezTo>
                      <a:pt x="341" y="352"/>
                      <a:pt x="341" y="352"/>
                      <a:pt x="221" y="352"/>
                    </a:cubicBezTo>
                    <a:cubicBezTo>
                      <a:pt x="214" y="352"/>
                      <a:pt x="208" y="346"/>
                      <a:pt x="208" y="338"/>
                    </a:cubicBezTo>
                    <a:cubicBezTo>
                      <a:pt x="208" y="338"/>
                      <a:pt x="208" y="338"/>
                      <a:pt x="208" y="310"/>
                    </a:cubicBezTo>
                    <a:cubicBezTo>
                      <a:pt x="355" y="310"/>
                      <a:pt x="355" y="310"/>
                      <a:pt x="355" y="310"/>
                    </a:cubicBezTo>
                    <a:cubicBezTo>
                      <a:pt x="355" y="310"/>
                      <a:pt x="355" y="310"/>
                      <a:pt x="355" y="338"/>
                    </a:cubicBezTo>
                    <a:close/>
                    <a:moveTo>
                      <a:pt x="355" y="294"/>
                    </a:moveTo>
                    <a:cubicBezTo>
                      <a:pt x="355" y="294"/>
                      <a:pt x="355" y="294"/>
                      <a:pt x="208" y="294"/>
                    </a:cubicBezTo>
                    <a:cubicBezTo>
                      <a:pt x="208" y="128"/>
                      <a:pt x="208" y="128"/>
                      <a:pt x="208" y="128"/>
                    </a:cubicBezTo>
                    <a:cubicBezTo>
                      <a:pt x="208" y="128"/>
                      <a:pt x="208" y="128"/>
                      <a:pt x="356" y="128"/>
                    </a:cubicBezTo>
                    <a:cubicBezTo>
                      <a:pt x="356" y="128"/>
                      <a:pt x="356" y="128"/>
                      <a:pt x="355" y="294"/>
                    </a:cubicBezTo>
                    <a:close/>
                    <a:moveTo>
                      <a:pt x="356" y="113"/>
                    </a:moveTo>
                    <a:cubicBezTo>
                      <a:pt x="356" y="113"/>
                      <a:pt x="356" y="113"/>
                      <a:pt x="208" y="113"/>
                    </a:cubicBezTo>
                    <a:cubicBezTo>
                      <a:pt x="208" y="107"/>
                      <a:pt x="208" y="107"/>
                      <a:pt x="208" y="107"/>
                    </a:cubicBezTo>
                    <a:cubicBezTo>
                      <a:pt x="208" y="100"/>
                      <a:pt x="214" y="93"/>
                      <a:pt x="221" y="93"/>
                    </a:cubicBezTo>
                    <a:cubicBezTo>
                      <a:pt x="221" y="93"/>
                      <a:pt x="221" y="93"/>
                      <a:pt x="341" y="93"/>
                    </a:cubicBezTo>
                    <a:cubicBezTo>
                      <a:pt x="345" y="93"/>
                      <a:pt x="350" y="94"/>
                      <a:pt x="354" y="97"/>
                    </a:cubicBezTo>
                    <a:cubicBezTo>
                      <a:pt x="356" y="99"/>
                      <a:pt x="356" y="102"/>
                      <a:pt x="356" y="107"/>
                    </a:cubicBezTo>
                    <a:cubicBezTo>
                      <a:pt x="356" y="107"/>
                      <a:pt x="356" y="107"/>
                      <a:pt x="356" y="1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90">
                <a:extLst>
                  <a:ext uri="{FF2B5EF4-FFF2-40B4-BE49-F238E27FC236}">
                    <a16:creationId xmlns:a16="http://schemas.microsoft.com/office/drawing/2014/main" id="{E0F2FB23-4710-9D44-AD2F-0F55560A1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18900" y="2830513"/>
                <a:ext cx="104775" cy="36513"/>
              </a:xfrm>
              <a:custGeom>
                <a:avLst/>
                <a:gdLst>
                  <a:gd name="T0" fmla="*/ 8 w 45"/>
                  <a:gd name="T1" fmla="*/ 16 h 16"/>
                  <a:gd name="T2" fmla="*/ 37 w 45"/>
                  <a:gd name="T3" fmla="*/ 16 h 16"/>
                  <a:gd name="T4" fmla="*/ 45 w 45"/>
                  <a:gd name="T5" fmla="*/ 8 h 16"/>
                  <a:gd name="T6" fmla="*/ 37 w 45"/>
                  <a:gd name="T7" fmla="*/ 0 h 16"/>
                  <a:gd name="T8" fmla="*/ 8 w 45"/>
                  <a:gd name="T9" fmla="*/ 0 h 16"/>
                  <a:gd name="T10" fmla="*/ 0 w 45"/>
                  <a:gd name="T11" fmla="*/ 8 h 16"/>
                  <a:gd name="T12" fmla="*/ 8 w 45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16">
                    <a:moveTo>
                      <a:pt x="8" y="16"/>
                    </a:moveTo>
                    <a:cubicBezTo>
                      <a:pt x="8" y="16"/>
                      <a:pt x="8" y="16"/>
                      <a:pt x="37" y="16"/>
                    </a:cubicBezTo>
                    <a:cubicBezTo>
                      <a:pt x="41" y="16"/>
                      <a:pt x="45" y="12"/>
                      <a:pt x="45" y="8"/>
                    </a:cubicBezTo>
                    <a:cubicBezTo>
                      <a:pt x="45" y="4"/>
                      <a:pt x="41" y="0"/>
                      <a:pt x="37" y="0"/>
                    </a:cubicBezTo>
                    <a:cubicBezTo>
                      <a:pt x="37" y="0"/>
                      <a:pt x="37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12"/>
                      <a:pt x="4" y="16"/>
                      <a:pt x="8" y="1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Freeform 91">
                <a:extLst>
                  <a:ext uri="{FF2B5EF4-FFF2-40B4-BE49-F238E27FC236}">
                    <a16:creationId xmlns:a16="http://schemas.microsoft.com/office/drawing/2014/main" id="{B87E390E-5EA5-8642-8CD0-4BA58319E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1800" y="2973388"/>
                <a:ext cx="96838" cy="36513"/>
              </a:xfrm>
              <a:custGeom>
                <a:avLst/>
                <a:gdLst>
                  <a:gd name="T0" fmla="*/ 8 w 42"/>
                  <a:gd name="T1" fmla="*/ 16 h 16"/>
                  <a:gd name="T2" fmla="*/ 34 w 42"/>
                  <a:gd name="T3" fmla="*/ 16 h 16"/>
                  <a:gd name="T4" fmla="*/ 42 w 42"/>
                  <a:gd name="T5" fmla="*/ 8 h 16"/>
                  <a:gd name="T6" fmla="*/ 34 w 42"/>
                  <a:gd name="T7" fmla="*/ 0 h 16"/>
                  <a:gd name="T8" fmla="*/ 8 w 42"/>
                  <a:gd name="T9" fmla="*/ 0 h 16"/>
                  <a:gd name="T10" fmla="*/ 0 w 42"/>
                  <a:gd name="T11" fmla="*/ 8 h 16"/>
                  <a:gd name="T12" fmla="*/ 8 w 42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" h="16">
                    <a:moveTo>
                      <a:pt x="8" y="16"/>
                    </a:moveTo>
                    <a:cubicBezTo>
                      <a:pt x="8" y="16"/>
                      <a:pt x="8" y="16"/>
                      <a:pt x="34" y="16"/>
                    </a:cubicBezTo>
                    <a:cubicBezTo>
                      <a:pt x="39" y="16"/>
                      <a:pt x="42" y="13"/>
                      <a:pt x="42" y="8"/>
                    </a:cubicBezTo>
                    <a:cubicBezTo>
                      <a:pt x="42" y="4"/>
                      <a:pt x="39" y="0"/>
                      <a:pt x="34" y="0"/>
                    </a:cubicBezTo>
                    <a:cubicBezTo>
                      <a:pt x="34" y="0"/>
                      <a:pt x="34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" name="Grupp 5">
              <a:extLst>
                <a:ext uri="{FF2B5EF4-FFF2-40B4-BE49-F238E27FC236}">
                  <a16:creationId xmlns:a16="http://schemas.microsoft.com/office/drawing/2014/main" id="{8AFD57C2-8756-8344-A04D-FDC69808AAEC}"/>
                </a:ext>
              </a:extLst>
            </p:cNvPr>
            <p:cNvGrpSpPr/>
            <p:nvPr/>
          </p:nvGrpSpPr>
          <p:grpSpPr>
            <a:xfrm rot="10601902">
              <a:off x="6918491" y="2865685"/>
              <a:ext cx="134346" cy="133751"/>
              <a:chOff x="8243888" y="1241426"/>
              <a:chExt cx="358775" cy="357187"/>
            </a:xfrm>
          </p:grpSpPr>
          <p:sp>
            <p:nvSpPr>
              <p:cNvPr id="106" name="Freeform 15">
                <a:extLst>
                  <a:ext uri="{FF2B5EF4-FFF2-40B4-BE49-F238E27FC236}">
                    <a16:creationId xmlns:a16="http://schemas.microsoft.com/office/drawing/2014/main" id="{AB9ED945-2FCD-A94B-8920-F939C0654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3888" y="1243013"/>
                <a:ext cx="354013" cy="355600"/>
              </a:xfrm>
              <a:custGeom>
                <a:avLst/>
                <a:gdLst>
                  <a:gd name="T0" fmla="*/ 107 w 154"/>
                  <a:gd name="T1" fmla="*/ 153 h 155"/>
                  <a:gd name="T2" fmla="*/ 127 w 154"/>
                  <a:gd name="T3" fmla="*/ 155 h 155"/>
                  <a:gd name="T4" fmla="*/ 147 w 154"/>
                  <a:gd name="T5" fmla="*/ 153 h 155"/>
                  <a:gd name="T6" fmla="*/ 154 w 154"/>
                  <a:gd name="T7" fmla="*/ 144 h 155"/>
                  <a:gd name="T8" fmla="*/ 145 w 154"/>
                  <a:gd name="T9" fmla="*/ 137 h 155"/>
                  <a:gd name="T10" fmla="*/ 109 w 154"/>
                  <a:gd name="T11" fmla="*/ 137 h 155"/>
                  <a:gd name="T12" fmla="*/ 18 w 154"/>
                  <a:gd name="T13" fmla="*/ 44 h 155"/>
                  <a:gd name="T14" fmla="*/ 18 w 154"/>
                  <a:gd name="T15" fmla="*/ 10 h 155"/>
                  <a:gd name="T16" fmla="*/ 11 w 154"/>
                  <a:gd name="T17" fmla="*/ 1 h 155"/>
                  <a:gd name="T18" fmla="*/ 2 w 154"/>
                  <a:gd name="T19" fmla="*/ 8 h 155"/>
                  <a:gd name="T20" fmla="*/ 2 w 154"/>
                  <a:gd name="T21" fmla="*/ 46 h 155"/>
                  <a:gd name="T22" fmla="*/ 107 w 154"/>
                  <a:gd name="T23" fmla="*/ 153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4" h="155">
                    <a:moveTo>
                      <a:pt x="107" y="153"/>
                    </a:moveTo>
                    <a:cubicBezTo>
                      <a:pt x="113" y="154"/>
                      <a:pt x="120" y="155"/>
                      <a:pt x="127" y="155"/>
                    </a:cubicBezTo>
                    <a:cubicBezTo>
                      <a:pt x="133" y="155"/>
                      <a:pt x="140" y="154"/>
                      <a:pt x="147" y="153"/>
                    </a:cubicBezTo>
                    <a:cubicBezTo>
                      <a:pt x="152" y="152"/>
                      <a:pt x="154" y="148"/>
                      <a:pt x="154" y="144"/>
                    </a:cubicBezTo>
                    <a:cubicBezTo>
                      <a:pt x="153" y="139"/>
                      <a:pt x="149" y="137"/>
                      <a:pt x="145" y="137"/>
                    </a:cubicBezTo>
                    <a:cubicBezTo>
                      <a:pt x="133" y="139"/>
                      <a:pt x="121" y="139"/>
                      <a:pt x="109" y="137"/>
                    </a:cubicBezTo>
                    <a:cubicBezTo>
                      <a:pt x="63" y="130"/>
                      <a:pt x="25" y="91"/>
                      <a:pt x="18" y="44"/>
                    </a:cubicBezTo>
                    <a:cubicBezTo>
                      <a:pt x="16" y="32"/>
                      <a:pt x="16" y="21"/>
                      <a:pt x="18" y="10"/>
                    </a:cubicBezTo>
                    <a:cubicBezTo>
                      <a:pt x="18" y="6"/>
                      <a:pt x="15" y="2"/>
                      <a:pt x="11" y="1"/>
                    </a:cubicBezTo>
                    <a:cubicBezTo>
                      <a:pt x="7" y="0"/>
                      <a:pt x="3" y="3"/>
                      <a:pt x="2" y="8"/>
                    </a:cubicBezTo>
                    <a:cubicBezTo>
                      <a:pt x="0" y="20"/>
                      <a:pt x="0" y="33"/>
                      <a:pt x="2" y="46"/>
                    </a:cubicBezTo>
                    <a:cubicBezTo>
                      <a:pt x="11" y="100"/>
                      <a:pt x="54" y="144"/>
                      <a:pt x="107" y="153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21">
                <a:extLst>
                  <a:ext uri="{FF2B5EF4-FFF2-40B4-BE49-F238E27FC236}">
                    <a16:creationId xmlns:a16="http://schemas.microsoft.com/office/drawing/2014/main" id="{7D5BFD1E-3A24-FC49-BE9E-2C65894288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9625" y="1241426"/>
                <a:ext cx="173038" cy="169863"/>
              </a:xfrm>
              <a:custGeom>
                <a:avLst/>
                <a:gdLst>
                  <a:gd name="T0" fmla="*/ 74 w 75"/>
                  <a:gd name="T1" fmla="*/ 65 h 74"/>
                  <a:gd name="T2" fmla="*/ 65 w 75"/>
                  <a:gd name="T3" fmla="*/ 58 h 74"/>
                  <a:gd name="T4" fmla="*/ 52 w 75"/>
                  <a:gd name="T5" fmla="*/ 58 h 74"/>
                  <a:gd name="T6" fmla="*/ 28 w 75"/>
                  <a:gd name="T7" fmla="*/ 45 h 74"/>
                  <a:gd name="T8" fmla="*/ 17 w 75"/>
                  <a:gd name="T9" fmla="*/ 22 h 74"/>
                  <a:gd name="T10" fmla="*/ 17 w 75"/>
                  <a:gd name="T11" fmla="*/ 9 h 74"/>
                  <a:gd name="T12" fmla="*/ 10 w 75"/>
                  <a:gd name="T13" fmla="*/ 0 h 74"/>
                  <a:gd name="T14" fmla="*/ 1 w 75"/>
                  <a:gd name="T15" fmla="*/ 7 h 74"/>
                  <a:gd name="T16" fmla="*/ 1 w 75"/>
                  <a:gd name="T17" fmla="*/ 25 h 74"/>
                  <a:gd name="T18" fmla="*/ 17 w 75"/>
                  <a:gd name="T19" fmla="*/ 56 h 74"/>
                  <a:gd name="T20" fmla="*/ 49 w 75"/>
                  <a:gd name="T21" fmla="*/ 74 h 74"/>
                  <a:gd name="T22" fmla="*/ 59 w 75"/>
                  <a:gd name="T23" fmla="*/ 74 h 74"/>
                  <a:gd name="T24" fmla="*/ 68 w 75"/>
                  <a:gd name="T25" fmla="*/ 74 h 74"/>
                  <a:gd name="T26" fmla="*/ 74 w 75"/>
                  <a:gd name="T27" fmla="*/ 6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5" h="74">
                    <a:moveTo>
                      <a:pt x="74" y="65"/>
                    </a:moveTo>
                    <a:cubicBezTo>
                      <a:pt x="74" y="60"/>
                      <a:pt x="70" y="57"/>
                      <a:pt x="65" y="58"/>
                    </a:cubicBezTo>
                    <a:cubicBezTo>
                      <a:pt x="61" y="59"/>
                      <a:pt x="56" y="59"/>
                      <a:pt x="52" y="58"/>
                    </a:cubicBezTo>
                    <a:cubicBezTo>
                      <a:pt x="43" y="57"/>
                      <a:pt x="35" y="52"/>
                      <a:pt x="28" y="45"/>
                    </a:cubicBezTo>
                    <a:cubicBezTo>
                      <a:pt x="22" y="39"/>
                      <a:pt x="18" y="31"/>
                      <a:pt x="17" y="22"/>
                    </a:cubicBezTo>
                    <a:cubicBezTo>
                      <a:pt x="16" y="18"/>
                      <a:pt x="16" y="14"/>
                      <a:pt x="17" y="9"/>
                    </a:cubicBezTo>
                    <a:cubicBezTo>
                      <a:pt x="18" y="5"/>
                      <a:pt x="15" y="1"/>
                      <a:pt x="10" y="0"/>
                    </a:cubicBezTo>
                    <a:cubicBezTo>
                      <a:pt x="6" y="0"/>
                      <a:pt x="2" y="3"/>
                      <a:pt x="1" y="7"/>
                    </a:cubicBezTo>
                    <a:cubicBezTo>
                      <a:pt x="0" y="13"/>
                      <a:pt x="0" y="19"/>
                      <a:pt x="1" y="25"/>
                    </a:cubicBezTo>
                    <a:cubicBezTo>
                      <a:pt x="3" y="36"/>
                      <a:pt x="9" y="48"/>
                      <a:pt x="17" y="56"/>
                    </a:cubicBezTo>
                    <a:cubicBezTo>
                      <a:pt x="26" y="66"/>
                      <a:pt x="37" y="72"/>
                      <a:pt x="49" y="74"/>
                    </a:cubicBezTo>
                    <a:cubicBezTo>
                      <a:pt x="52" y="74"/>
                      <a:pt x="55" y="74"/>
                      <a:pt x="59" y="74"/>
                    </a:cubicBezTo>
                    <a:cubicBezTo>
                      <a:pt x="62" y="74"/>
                      <a:pt x="65" y="74"/>
                      <a:pt x="68" y="74"/>
                    </a:cubicBezTo>
                    <a:cubicBezTo>
                      <a:pt x="72" y="73"/>
                      <a:pt x="75" y="69"/>
                      <a:pt x="74" y="6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" name="Freeform 23">
                <a:extLst>
                  <a:ext uri="{FF2B5EF4-FFF2-40B4-BE49-F238E27FC236}">
                    <a16:creationId xmlns:a16="http://schemas.microsoft.com/office/drawing/2014/main" id="{21ADDD0D-7CEE-F64D-937A-040CC7BEF1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5963" y="1252538"/>
                <a:ext cx="254000" cy="254000"/>
              </a:xfrm>
              <a:custGeom>
                <a:avLst/>
                <a:gdLst>
                  <a:gd name="T0" fmla="*/ 10 w 111"/>
                  <a:gd name="T1" fmla="*/ 0 h 111"/>
                  <a:gd name="T2" fmla="*/ 1 w 111"/>
                  <a:gd name="T3" fmla="*/ 7 h 111"/>
                  <a:gd name="T4" fmla="*/ 1 w 111"/>
                  <a:gd name="T5" fmla="*/ 26 h 111"/>
                  <a:gd name="T6" fmla="*/ 27 w 111"/>
                  <a:gd name="T7" fmla="*/ 81 h 111"/>
                  <a:gd name="T8" fmla="*/ 83 w 111"/>
                  <a:gd name="T9" fmla="*/ 110 h 111"/>
                  <a:gd name="T10" fmla="*/ 94 w 111"/>
                  <a:gd name="T11" fmla="*/ 111 h 111"/>
                  <a:gd name="T12" fmla="*/ 104 w 111"/>
                  <a:gd name="T13" fmla="*/ 110 h 111"/>
                  <a:gd name="T14" fmla="*/ 111 w 111"/>
                  <a:gd name="T15" fmla="*/ 101 h 111"/>
                  <a:gd name="T16" fmla="*/ 102 w 111"/>
                  <a:gd name="T17" fmla="*/ 94 h 111"/>
                  <a:gd name="T18" fmla="*/ 85 w 111"/>
                  <a:gd name="T19" fmla="*/ 94 h 111"/>
                  <a:gd name="T20" fmla="*/ 39 w 111"/>
                  <a:gd name="T21" fmla="*/ 70 h 111"/>
                  <a:gd name="T22" fmla="*/ 17 w 111"/>
                  <a:gd name="T23" fmla="*/ 25 h 111"/>
                  <a:gd name="T24" fmla="*/ 17 w 111"/>
                  <a:gd name="T25" fmla="*/ 9 h 111"/>
                  <a:gd name="T26" fmla="*/ 10 w 111"/>
                  <a:gd name="T2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1" h="111">
                    <a:moveTo>
                      <a:pt x="10" y="0"/>
                    </a:moveTo>
                    <a:cubicBezTo>
                      <a:pt x="5" y="0"/>
                      <a:pt x="1" y="3"/>
                      <a:pt x="1" y="7"/>
                    </a:cubicBezTo>
                    <a:cubicBezTo>
                      <a:pt x="0" y="13"/>
                      <a:pt x="0" y="20"/>
                      <a:pt x="1" y="26"/>
                    </a:cubicBezTo>
                    <a:cubicBezTo>
                      <a:pt x="3" y="46"/>
                      <a:pt x="13" y="66"/>
                      <a:pt x="27" y="81"/>
                    </a:cubicBezTo>
                    <a:cubicBezTo>
                      <a:pt x="43" y="97"/>
                      <a:pt x="62" y="107"/>
                      <a:pt x="83" y="110"/>
                    </a:cubicBezTo>
                    <a:cubicBezTo>
                      <a:pt x="87" y="110"/>
                      <a:pt x="90" y="111"/>
                      <a:pt x="94" y="111"/>
                    </a:cubicBezTo>
                    <a:cubicBezTo>
                      <a:pt x="97" y="111"/>
                      <a:pt x="100" y="110"/>
                      <a:pt x="104" y="110"/>
                    </a:cubicBezTo>
                    <a:cubicBezTo>
                      <a:pt x="108" y="110"/>
                      <a:pt x="111" y="106"/>
                      <a:pt x="111" y="101"/>
                    </a:cubicBezTo>
                    <a:cubicBezTo>
                      <a:pt x="110" y="97"/>
                      <a:pt x="106" y="94"/>
                      <a:pt x="102" y="94"/>
                    </a:cubicBezTo>
                    <a:cubicBezTo>
                      <a:pt x="96" y="95"/>
                      <a:pt x="91" y="95"/>
                      <a:pt x="85" y="94"/>
                    </a:cubicBezTo>
                    <a:cubicBezTo>
                      <a:pt x="68" y="92"/>
                      <a:pt x="52" y="84"/>
                      <a:pt x="39" y="70"/>
                    </a:cubicBezTo>
                    <a:cubicBezTo>
                      <a:pt x="26" y="57"/>
                      <a:pt x="19" y="41"/>
                      <a:pt x="17" y="25"/>
                    </a:cubicBezTo>
                    <a:cubicBezTo>
                      <a:pt x="16" y="19"/>
                      <a:pt x="16" y="14"/>
                      <a:pt x="17" y="9"/>
                    </a:cubicBezTo>
                    <a:cubicBezTo>
                      <a:pt x="17" y="5"/>
                      <a:pt x="14" y="1"/>
                      <a:pt x="10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23" name="Grupp 222">
            <a:extLst>
              <a:ext uri="{FF2B5EF4-FFF2-40B4-BE49-F238E27FC236}">
                <a16:creationId xmlns:a16="http://schemas.microsoft.com/office/drawing/2014/main" id="{1B5BDAC4-6B82-604A-B0F6-A162020BE8C2}"/>
              </a:ext>
            </a:extLst>
          </p:cNvPr>
          <p:cNvGrpSpPr/>
          <p:nvPr/>
        </p:nvGrpSpPr>
        <p:grpSpPr>
          <a:xfrm>
            <a:off x="6225592" y="3924694"/>
            <a:ext cx="674024" cy="623382"/>
            <a:chOff x="9631363" y="5491163"/>
            <a:chExt cx="887413" cy="820738"/>
          </a:xfrm>
        </p:grpSpPr>
        <p:sp>
          <p:nvSpPr>
            <p:cNvPr id="224" name="Freeform 66">
              <a:extLst>
                <a:ext uri="{FF2B5EF4-FFF2-40B4-BE49-F238E27FC236}">
                  <a16:creationId xmlns:a16="http://schemas.microsoft.com/office/drawing/2014/main" id="{6A989128-D600-CE4C-AB17-F46EB4C485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1363" y="5491163"/>
              <a:ext cx="887413" cy="700088"/>
            </a:xfrm>
            <a:custGeom>
              <a:avLst/>
              <a:gdLst>
                <a:gd name="T0" fmla="*/ 340 w 386"/>
                <a:gd name="T1" fmla="*/ 144 h 305"/>
                <a:gd name="T2" fmla="*/ 305 w 386"/>
                <a:gd name="T3" fmla="*/ 125 h 305"/>
                <a:gd name="T4" fmla="*/ 255 w 386"/>
                <a:gd name="T5" fmla="*/ 126 h 305"/>
                <a:gd name="T6" fmla="*/ 255 w 386"/>
                <a:gd name="T7" fmla="*/ 24 h 305"/>
                <a:gd name="T8" fmla="*/ 231 w 386"/>
                <a:gd name="T9" fmla="*/ 0 h 305"/>
                <a:gd name="T10" fmla="*/ 23 w 386"/>
                <a:gd name="T11" fmla="*/ 0 h 305"/>
                <a:gd name="T12" fmla="*/ 0 w 386"/>
                <a:gd name="T13" fmla="*/ 24 h 305"/>
                <a:gd name="T14" fmla="*/ 0 w 386"/>
                <a:gd name="T15" fmla="*/ 188 h 305"/>
                <a:gd name="T16" fmla="*/ 0 w 386"/>
                <a:gd name="T17" fmla="*/ 189 h 305"/>
                <a:gd name="T18" fmla="*/ 0 w 386"/>
                <a:gd name="T19" fmla="*/ 190 h 305"/>
                <a:gd name="T20" fmla="*/ 0 w 386"/>
                <a:gd name="T21" fmla="*/ 281 h 305"/>
                <a:gd name="T22" fmla="*/ 23 w 386"/>
                <a:gd name="T23" fmla="*/ 305 h 305"/>
                <a:gd name="T24" fmla="*/ 33 w 386"/>
                <a:gd name="T25" fmla="*/ 305 h 305"/>
                <a:gd name="T26" fmla="*/ 40 w 386"/>
                <a:gd name="T27" fmla="*/ 299 h 305"/>
                <a:gd name="T28" fmla="*/ 94 w 386"/>
                <a:gd name="T29" fmla="*/ 259 h 305"/>
                <a:gd name="T30" fmla="*/ 147 w 386"/>
                <a:gd name="T31" fmla="*/ 299 h 305"/>
                <a:gd name="T32" fmla="*/ 155 w 386"/>
                <a:gd name="T33" fmla="*/ 305 h 305"/>
                <a:gd name="T34" fmla="*/ 231 w 386"/>
                <a:gd name="T35" fmla="*/ 305 h 305"/>
                <a:gd name="T36" fmla="*/ 238 w 386"/>
                <a:gd name="T37" fmla="*/ 299 h 305"/>
                <a:gd name="T38" fmla="*/ 292 w 386"/>
                <a:gd name="T39" fmla="*/ 259 h 305"/>
                <a:gd name="T40" fmla="*/ 345 w 386"/>
                <a:gd name="T41" fmla="*/ 299 h 305"/>
                <a:gd name="T42" fmla="*/ 353 w 386"/>
                <a:gd name="T43" fmla="*/ 305 h 305"/>
                <a:gd name="T44" fmla="*/ 362 w 386"/>
                <a:gd name="T45" fmla="*/ 305 h 305"/>
                <a:gd name="T46" fmla="*/ 386 w 386"/>
                <a:gd name="T47" fmla="*/ 281 h 305"/>
                <a:gd name="T48" fmla="*/ 386 w 386"/>
                <a:gd name="T49" fmla="*/ 234 h 305"/>
                <a:gd name="T50" fmla="*/ 370 w 386"/>
                <a:gd name="T51" fmla="*/ 186 h 305"/>
                <a:gd name="T52" fmla="*/ 340 w 386"/>
                <a:gd name="T53" fmla="*/ 144 h 305"/>
                <a:gd name="T54" fmla="*/ 15 w 386"/>
                <a:gd name="T55" fmla="*/ 24 h 305"/>
                <a:gd name="T56" fmla="*/ 23 w 386"/>
                <a:gd name="T57" fmla="*/ 16 h 305"/>
                <a:gd name="T58" fmla="*/ 231 w 386"/>
                <a:gd name="T59" fmla="*/ 16 h 305"/>
                <a:gd name="T60" fmla="*/ 239 w 386"/>
                <a:gd name="T61" fmla="*/ 24 h 305"/>
                <a:gd name="T62" fmla="*/ 239 w 386"/>
                <a:gd name="T63" fmla="*/ 188 h 305"/>
                <a:gd name="T64" fmla="*/ 231 w 386"/>
                <a:gd name="T65" fmla="*/ 196 h 305"/>
                <a:gd name="T66" fmla="*/ 23 w 386"/>
                <a:gd name="T67" fmla="*/ 196 h 305"/>
                <a:gd name="T68" fmla="*/ 15 w 386"/>
                <a:gd name="T69" fmla="*/ 188 h 305"/>
                <a:gd name="T70" fmla="*/ 15 w 386"/>
                <a:gd name="T71" fmla="*/ 24 h 305"/>
                <a:gd name="T72" fmla="*/ 370 w 386"/>
                <a:gd name="T73" fmla="*/ 281 h 305"/>
                <a:gd name="T74" fmla="*/ 362 w 386"/>
                <a:gd name="T75" fmla="*/ 289 h 305"/>
                <a:gd name="T76" fmla="*/ 358 w 386"/>
                <a:gd name="T77" fmla="*/ 289 h 305"/>
                <a:gd name="T78" fmla="*/ 292 w 386"/>
                <a:gd name="T79" fmla="*/ 243 h 305"/>
                <a:gd name="T80" fmla="*/ 225 w 386"/>
                <a:gd name="T81" fmla="*/ 289 h 305"/>
                <a:gd name="T82" fmla="*/ 160 w 386"/>
                <a:gd name="T83" fmla="*/ 289 h 305"/>
                <a:gd name="T84" fmla="*/ 94 w 386"/>
                <a:gd name="T85" fmla="*/ 243 h 305"/>
                <a:gd name="T86" fmla="*/ 27 w 386"/>
                <a:gd name="T87" fmla="*/ 289 h 305"/>
                <a:gd name="T88" fmla="*/ 23 w 386"/>
                <a:gd name="T89" fmla="*/ 289 h 305"/>
                <a:gd name="T90" fmla="*/ 15 w 386"/>
                <a:gd name="T91" fmla="*/ 281 h 305"/>
                <a:gd name="T92" fmla="*/ 15 w 386"/>
                <a:gd name="T93" fmla="*/ 212 h 305"/>
                <a:gd name="T94" fmla="*/ 23 w 386"/>
                <a:gd name="T95" fmla="*/ 213 h 305"/>
                <a:gd name="T96" fmla="*/ 231 w 386"/>
                <a:gd name="T97" fmla="*/ 213 h 305"/>
                <a:gd name="T98" fmla="*/ 255 w 386"/>
                <a:gd name="T99" fmla="*/ 190 h 305"/>
                <a:gd name="T100" fmla="*/ 255 w 386"/>
                <a:gd name="T101" fmla="*/ 142 h 305"/>
                <a:gd name="T102" fmla="*/ 305 w 386"/>
                <a:gd name="T103" fmla="*/ 141 h 305"/>
                <a:gd name="T104" fmla="*/ 328 w 386"/>
                <a:gd name="T105" fmla="*/ 154 h 305"/>
                <a:gd name="T106" fmla="*/ 357 w 386"/>
                <a:gd name="T107" fmla="*/ 195 h 305"/>
                <a:gd name="T108" fmla="*/ 370 w 386"/>
                <a:gd name="T109" fmla="*/ 234 h 305"/>
                <a:gd name="T110" fmla="*/ 370 w 386"/>
                <a:gd name="T111" fmla="*/ 28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6" h="305">
                  <a:moveTo>
                    <a:pt x="340" y="144"/>
                  </a:moveTo>
                  <a:cubicBezTo>
                    <a:pt x="334" y="136"/>
                    <a:pt x="317" y="125"/>
                    <a:pt x="305" y="125"/>
                  </a:cubicBezTo>
                  <a:cubicBezTo>
                    <a:pt x="305" y="125"/>
                    <a:pt x="305" y="125"/>
                    <a:pt x="255" y="126"/>
                  </a:cubicBezTo>
                  <a:cubicBezTo>
                    <a:pt x="255" y="126"/>
                    <a:pt x="255" y="126"/>
                    <a:pt x="255" y="24"/>
                  </a:cubicBezTo>
                  <a:cubicBezTo>
                    <a:pt x="255" y="11"/>
                    <a:pt x="244" y="0"/>
                    <a:pt x="231" y="0"/>
                  </a:cubicBezTo>
                  <a:cubicBezTo>
                    <a:pt x="231" y="0"/>
                    <a:pt x="231" y="0"/>
                    <a:pt x="23" y="0"/>
                  </a:cubicBezTo>
                  <a:cubicBezTo>
                    <a:pt x="10" y="0"/>
                    <a:pt x="0" y="11"/>
                    <a:pt x="0" y="24"/>
                  </a:cubicBezTo>
                  <a:cubicBezTo>
                    <a:pt x="0" y="24"/>
                    <a:pt x="0" y="24"/>
                    <a:pt x="0" y="188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0" y="189"/>
                    <a:pt x="0" y="190"/>
                  </a:cubicBezTo>
                  <a:cubicBezTo>
                    <a:pt x="0" y="190"/>
                    <a:pt x="0" y="190"/>
                    <a:pt x="0" y="281"/>
                  </a:cubicBezTo>
                  <a:cubicBezTo>
                    <a:pt x="0" y="294"/>
                    <a:pt x="10" y="305"/>
                    <a:pt x="23" y="305"/>
                  </a:cubicBezTo>
                  <a:cubicBezTo>
                    <a:pt x="23" y="305"/>
                    <a:pt x="23" y="305"/>
                    <a:pt x="33" y="305"/>
                  </a:cubicBezTo>
                  <a:cubicBezTo>
                    <a:pt x="36" y="305"/>
                    <a:pt x="39" y="302"/>
                    <a:pt x="40" y="299"/>
                  </a:cubicBezTo>
                  <a:cubicBezTo>
                    <a:pt x="47" y="275"/>
                    <a:pt x="69" y="259"/>
                    <a:pt x="94" y="259"/>
                  </a:cubicBezTo>
                  <a:cubicBezTo>
                    <a:pt x="118" y="259"/>
                    <a:pt x="140" y="275"/>
                    <a:pt x="147" y="299"/>
                  </a:cubicBezTo>
                  <a:cubicBezTo>
                    <a:pt x="148" y="302"/>
                    <a:pt x="151" y="305"/>
                    <a:pt x="155" y="305"/>
                  </a:cubicBezTo>
                  <a:cubicBezTo>
                    <a:pt x="155" y="305"/>
                    <a:pt x="155" y="305"/>
                    <a:pt x="231" y="305"/>
                  </a:cubicBezTo>
                  <a:cubicBezTo>
                    <a:pt x="234" y="305"/>
                    <a:pt x="237" y="302"/>
                    <a:pt x="238" y="299"/>
                  </a:cubicBezTo>
                  <a:cubicBezTo>
                    <a:pt x="245" y="275"/>
                    <a:pt x="267" y="259"/>
                    <a:pt x="292" y="259"/>
                  </a:cubicBezTo>
                  <a:cubicBezTo>
                    <a:pt x="316" y="259"/>
                    <a:pt x="338" y="275"/>
                    <a:pt x="345" y="299"/>
                  </a:cubicBezTo>
                  <a:cubicBezTo>
                    <a:pt x="346" y="302"/>
                    <a:pt x="349" y="305"/>
                    <a:pt x="353" y="305"/>
                  </a:cubicBezTo>
                  <a:cubicBezTo>
                    <a:pt x="353" y="305"/>
                    <a:pt x="353" y="305"/>
                    <a:pt x="362" y="305"/>
                  </a:cubicBezTo>
                  <a:cubicBezTo>
                    <a:pt x="375" y="305"/>
                    <a:pt x="386" y="294"/>
                    <a:pt x="386" y="281"/>
                  </a:cubicBezTo>
                  <a:cubicBezTo>
                    <a:pt x="386" y="281"/>
                    <a:pt x="386" y="281"/>
                    <a:pt x="386" y="234"/>
                  </a:cubicBezTo>
                  <a:cubicBezTo>
                    <a:pt x="386" y="217"/>
                    <a:pt x="380" y="200"/>
                    <a:pt x="370" y="186"/>
                  </a:cubicBezTo>
                  <a:cubicBezTo>
                    <a:pt x="370" y="186"/>
                    <a:pt x="370" y="186"/>
                    <a:pt x="340" y="144"/>
                  </a:cubicBezTo>
                  <a:close/>
                  <a:moveTo>
                    <a:pt x="15" y="24"/>
                  </a:moveTo>
                  <a:cubicBezTo>
                    <a:pt x="15" y="19"/>
                    <a:pt x="19" y="16"/>
                    <a:pt x="23" y="16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5" y="16"/>
                    <a:pt x="239" y="19"/>
                    <a:pt x="239" y="24"/>
                  </a:cubicBezTo>
                  <a:cubicBezTo>
                    <a:pt x="239" y="24"/>
                    <a:pt x="239" y="24"/>
                    <a:pt x="239" y="188"/>
                  </a:cubicBezTo>
                  <a:cubicBezTo>
                    <a:pt x="239" y="192"/>
                    <a:pt x="235" y="196"/>
                    <a:pt x="231" y="196"/>
                  </a:cubicBezTo>
                  <a:cubicBezTo>
                    <a:pt x="231" y="196"/>
                    <a:pt x="231" y="196"/>
                    <a:pt x="23" y="196"/>
                  </a:cubicBezTo>
                  <a:cubicBezTo>
                    <a:pt x="19" y="196"/>
                    <a:pt x="15" y="192"/>
                    <a:pt x="15" y="188"/>
                  </a:cubicBezTo>
                  <a:cubicBezTo>
                    <a:pt x="15" y="188"/>
                    <a:pt x="15" y="188"/>
                    <a:pt x="15" y="24"/>
                  </a:cubicBezTo>
                  <a:close/>
                  <a:moveTo>
                    <a:pt x="370" y="281"/>
                  </a:moveTo>
                  <a:cubicBezTo>
                    <a:pt x="370" y="285"/>
                    <a:pt x="366" y="289"/>
                    <a:pt x="362" y="289"/>
                  </a:cubicBezTo>
                  <a:cubicBezTo>
                    <a:pt x="362" y="289"/>
                    <a:pt x="362" y="289"/>
                    <a:pt x="358" y="289"/>
                  </a:cubicBezTo>
                  <a:cubicBezTo>
                    <a:pt x="348" y="261"/>
                    <a:pt x="321" y="243"/>
                    <a:pt x="292" y="243"/>
                  </a:cubicBezTo>
                  <a:cubicBezTo>
                    <a:pt x="262" y="243"/>
                    <a:pt x="235" y="261"/>
                    <a:pt x="225" y="289"/>
                  </a:cubicBezTo>
                  <a:cubicBezTo>
                    <a:pt x="225" y="289"/>
                    <a:pt x="225" y="289"/>
                    <a:pt x="160" y="289"/>
                  </a:cubicBezTo>
                  <a:cubicBezTo>
                    <a:pt x="150" y="261"/>
                    <a:pt x="123" y="243"/>
                    <a:pt x="94" y="243"/>
                  </a:cubicBezTo>
                  <a:cubicBezTo>
                    <a:pt x="64" y="243"/>
                    <a:pt x="37" y="261"/>
                    <a:pt x="27" y="289"/>
                  </a:cubicBezTo>
                  <a:cubicBezTo>
                    <a:pt x="27" y="289"/>
                    <a:pt x="27" y="289"/>
                    <a:pt x="23" y="289"/>
                  </a:cubicBezTo>
                  <a:cubicBezTo>
                    <a:pt x="19" y="289"/>
                    <a:pt x="15" y="285"/>
                    <a:pt x="15" y="281"/>
                  </a:cubicBezTo>
                  <a:cubicBezTo>
                    <a:pt x="15" y="281"/>
                    <a:pt x="15" y="281"/>
                    <a:pt x="15" y="212"/>
                  </a:cubicBezTo>
                  <a:cubicBezTo>
                    <a:pt x="18" y="213"/>
                    <a:pt x="21" y="213"/>
                    <a:pt x="23" y="213"/>
                  </a:cubicBezTo>
                  <a:cubicBezTo>
                    <a:pt x="23" y="213"/>
                    <a:pt x="23" y="213"/>
                    <a:pt x="231" y="213"/>
                  </a:cubicBezTo>
                  <a:cubicBezTo>
                    <a:pt x="244" y="213"/>
                    <a:pt x="255" y="203"/>
                    <a:pt x="255" y="190"/>
                  </a:cubicBezTo>
                  <a:cubicBezTo>
                    <a:pt x="255" y="190"/>
                    <a:pt x="255" y="190"/>
                    <a:pt x="255" y="142"/>
                  </a:cubicBezTo>
                  <a:cubicBezTo>
                    <a:pt x="255" y="142"/>
                    <a:pt x="255" y="142"/>
                    <a:pt x="305" y="141"/>
                  </a:cubicBezTo>
                  <a:cubicBezTo>
                    <a:pt x="311" y="141"/>
                    <a:pt x="324" y="148"/>
                    <a:pt x="328" y="154"/>
                  </a:cubicBezTo>
                  <a:cubicBezTo>
                    <a:pt x="328" y="154"/>
                    <a:pt x="328" y="154"/>
                    <a:pt x="357" y="195"/>
                  </a:cubicBezTo>
                  <a:cubicBezTo>
                    <a:pt x="365" y="206"/>
                    <a:pt x="370" y="220"/>
                    <a:pt x="370" y="234"/>
                  </a:cubicBezTo>
                  <a:cubicBezTo>
                    <a:pt x="370" y="234"/>
                    <a:pt x="370" y="234"/>
                    <a:pt x="370" y="281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 69">
              <a:extLst>
                <a:ext uri="{FF2B5EF4-FFF2-40B4-BE49-F238E27FC236}">
                  <a16:creationId xmlns:a16="http://schemas.microsoft.com/office/drawing/2014/main" id="{FDA152B0-4D3B-6B43-8BC6-A06E817365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07625" y="6126163"/>
              <a:ext cx="187325" cy="185738"/>
            </a:xfrm>
            <a:custGeom>
              <a:avLst/>
              <a:gdLst>
                <a:gd name="T0" fmla="*/ 41 w 81"/>
                <a:gd name="T1" fmla="*/ 0 h 81"/>
                <a:gd name="T2" fmla="*/ 0 w 81"/>
                <a:gd name="T3" fmla="*/ 40 h 81"/>
                <a:gd name="T4" fmla="*/ 41 w 81"/>
                <a:gd name="T5" fmla="*/ 81 h 81"/>
                <a:gd name="T6" fmla="*/ 81 w 81"/>
                <a:gd name="T7" fmla="*/ 40 h 81"/>
                <a:gd name="T8" fmla="*/ 41 w 81"/>
                <a:gd name="T9" fmla="*/ 0 h 81"/>
                <a:gd name="T10" fmla="*/ 41 w 81"/>
                <a:gd name="T11" fmla="*/ 65 h 81"/>
                <a:gd name="T12" fmla="*/ 16 w 81"/>
                <a:gd name="T13" fmla="*/ 40 h 81"/>
                <a:gd name="T14" fmla="*/ 41 w 81"/>
                <a:gd name="T15" fmla="*/ 15 h 81"/>
                <a:gd name="T16" fmla="*/ 66 w 81"/>
                <a:gd name="T17" fmla="*/ 40 h 81"/>
                <a:gd name="T18" fmla="*/ 41 w 81"/>
                <a:gd name="T19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3"/>
                    <a:pt x="18" y="81"/>
                    <a:pt x="41" y="81"/>
                  </a:cubicBezTo>
                  <a:cubicBezTo>
                    <a:pt x="63" y="81"/>
                    <a:pt x="81" y="63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lose/>
                  <a:moveTo>
                    <a:pt x="41" y="65"/>
                  </a:moveTo>
                  <a:cubicBezTo>
                    <a:pt x="27" y="65"/>
                    <a:pt x="16" y="54"/>
                    <a:pt x="16" y="40"/>
                  </a:cubicBezTo>
                  <a:cubicBezTo>
                    <a:pt x="16" y="27"/>
                    <a:pt x="27" y="15"/>
                    <a:pt x="41" y="15"/>
                  </a:cubicBezTo>
                  <a:cubicBezTo>
                    <a:pt x="54" y="15"/>
                    <a:pt x="66" y="27"/>
                    <a:pt x="66" y="40"/>
                  </a:cubicBezTo>
                  <a:cubicBezTo>
                    <a:pt x="66" y="54"/>
                    <a:pt x="54" y="65"/>
                    <a:pt x="41" y="65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Freeform 70">
              <a:extLst>
                <a:ext uri="{FF2B5EF4-FFF2-40B4-BE49-F238E27FC236}">
                  <a16:creationId xmlns:a16="http://schemas.microsoft.com/office/drawing/2014/main" id="{2D1EDC73-8C1B-0B45-B141-1053A741EB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3600" y="6126163"/>
              <a:ext cx="185738" cy="185738"/>
            </a:xfrm>
            <a:custGeom>
              <a:avLst/>
              <a:gdLst>
                <a:gd name="T0" fmla="*/ 41 w 81"/>
                <a:gd name="T1" fmla="*/ 0 h 81"/>
                <a:gd name="T2" fmla="*/ 0 w 81"/>
                <a:gd name="T3" fmla="*/ 40 h 81"/>
                <a:gd name="T4" fmla="*/ 41 w 81"/>
                <a:gd name="T5" fmla="*/ 81 h 81"/>
                <a:gd name="T6" fmla="*/ 81 w 81"/>
                <a:gd name="T7" fmla="*/ 40 h 81"/>
                <a:gd name="T8" fmla="*/ 41 w 81"/>
                <a:gd name="T9" fmla="*/ 0 h 81"/>
                <a:gd name="T10" fmla="*/ 41 w 81"/>
                <a:gd name="T11" fmla="*/ 65 h 81"/>
                <a:gd name="T12" fmla="*/ 16 w 81"/>
                <a:gd name="T13" fmla="*/ 40 h 81"/>
                <a:gd name="T14" fmla="*/ 41 w 81"/>
                <a:gd name="T15" fmla="*/ 15 h 81"/>
                <a:gd name="T16" fmla="*/ 65 w 81"/>
                <a:gd name="T17" fmla="*/ 40 h 81"/>
                <a:gd name="T18" fmla="*/ 41 w 81"/>
                <a:gd name="T19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1">
                  <a:moveTo>
                    <a:pt x="41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3"/>
                    <a:pt x="18" y="81"/>
                    <a:pt x="41" y="81"/>
                  </a:cubicBezTo>
                  <a:cubicBezTo>
                    <a:pt x="63" y="81"/>
                    <a:pt x="81" y="63"/>
                    <a:pt x="81" y="40"/>
                  </a:cubicBezTo>
                  <a:cubicBezTo>
                    <a:pt x="81" y="18"/>
                    <a:pt x="63" y="0"/>
                    <a:pt x="41" y="0"/>
                  </a:cubicBezTo>
                  <a:close/>
                  <a:moveTo>
                    <a:pt x="41" y="65"/>
                  </a:moveTo>
                  <a:cubicBezTo>
                    <a:pt x="27" y="65"/>
                    <a:pt x="16" y="54"/>
                    <a:pt x="16" y="40"/>
                  </a:cubicBezTo>
                  <a:cubicBezTo>
                    <a:pt x="16" y="27"/>
                    <a:pt x="27" y="15"/>
                    <a:pt x="41" y="15"/>
                  </a:cubicBezTo>
                  <a:cubicBezTo>
                    <a:pt x="54" y="15"/>
                    <a:pt x="65" y="27"/>
                    <a:pt x="65" y="40"/>
                  </a:cubicBezTo>
                  <a:cubicBezTo>
                    <a:pt x="65" y="54"/>
                    <a:pt x="54" y="65"/>
                    <a:pt x="41" y="65"/>
                  </a:cubicBezTo>
                  <a:close/>
                </a:path>
              </a:pathLst>
            </a:custGeom>
            <a:solidFill>
              <a:srgbClr val="010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6" name="Title 1">
            <a:extLst>
              <a:ext uri="{FF2B5EF4-FFF2-40B4-BE49-F238E27FC236}">
                <a16:creationId xmlns:a16="http://schemas.microsoft.com/office/drawing/2014/main" id="{5B024264-A715-7D4E-8BBF-C4BD73455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958738"/>
            <a:ext cx="5003802" cy="1081088"/>
          </a:xfrm>
        </p:spPr>
        <p:txBody>
          <a:bodyPr/>
          <a:lstStyle/>
          <a:p>
            <a:r>
              <a:rPr lang="sv-SE" dirty="0"/>
              <a:t>From </a:t>
            </a:r>
            <a:r>
              <a:rPr lang="sv-SE" dirty="0" err="1"/>
              <a:t>IoT</a:t>
            </a:r>
            <a:r>
              <a:rPr lang="sv-SE" dirty="0"/>
              <a:t> to </a:t>
            </a:r>
            <a:r>
              <a:rPr lang="sv-SE" dirty="0" err="1"/>
              <a:t>Ecosystem</a:t>
            </a:r>
            <a:endParaRPr lang="sv-SE" dirty="0"/>
          </a:p>
        </p:txBody>
      </p:sp>
      <p:sp>
        <p:nvSpPr>
          <p:cNvPr id="101" name="Smart product">
            <a:extLst>
              <a:ext uri="{FF2B5EF4-FFF2-40B4-BE49-F238E27FC236}">
                <a16:creationId xmlns:a16="http://schemas.microsoft.com/office/drawing/2014/main" id="{BCE58607-EAF5-2047-B322-0DB881BC31C4}"/>
              </a:ext>
            </a:extLst>
          </p:cNvPr>
          <p:cNvSpPr txBox="1"/>
          <p:nvPr/>
        </p:nvSpPr>
        <p:spPr>
          <a:xfrm>
            <a:off x="5642503" y="5063359"/>
            <a:ext cx="1786065" cy="544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2800" b="1">
                <a:solidFill>
                  <a:srgbClr val="53585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pPr marL="0" marR="0" lvl="0" indent="0" algn="ctr" defTabSz="1828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Smart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,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connected</a:t>
            </a:r>
            <a:endParaRPr kumimoji="0" lang="sv-SE" sz="1400" b="0" i="0" u="none" strike="noStrike" kern="0" cap="none" spc="0" normalizeH="0" baseline="0" noProof="0" dirty="0">
              <a:ln>
                <a:noFill/>
              </a:ln>
              <a:solidFill>
                <a:srgbClr val="53585F"/>
              </a:solidFill>
              <a:effectLst/>
              <a:uLnTx/>
              <a:uFillTx/>
              <a:latin typeface="+mj-lt"/>
              <a:ea typeface="Futura LT Book"/>
              <a:cs typeface="Futura LT Book"/>
              <a:sym typeface="Futura LT Book"/>
            </a:endParaRPr>
          </a:p>
          <a:p>
            <a:pPr marL="0" marR="0" lvl="0" indent="0" algn="ctr" defTabSz="1828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produc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53585F"/>
              </a:solidFill>
              <a:effectLst/>
              <a:uLnTx/>
              <a:uFillTx/>
              <a:latin typeface="+mj-lt"/>
              <a:ea typeface="Futura LT Book"/>
              <a:cs typeface="Futura LT Book"/>
              <a:sym typeface="Futura LT Book"/>
            </a:endParaRPr>
          </a:p>
        </p:txBody>
      </p:sp>
    </p:spTree>
    <p:extLst>
      <p:ext uri="{BB962C8B-B14F-4D97-AF65-F5344CB8AC3E}">
        <p14:creationId xmlns:p14="http://schemas.microsoft.com/office/powerpoint/2010/main" val="203240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BBB9AC-DDED-4D8B-A5A5-06D1D88453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igital Solutions, Market</a:t>
            </a:r>
            <a:r>
              <a:rPr lang="en-GB" dirty="0"/>
              <a:t> AT A GLANCE</a:t>
            </a:r>
            <a:endParaRPr lang="en-US" dirty="0"/>
          </a:p>
        </p:txBody>
      </p:sp>
      <p:sp>
        <p:nvSpPr>
          <p:cNvPr id="44" name="Footer Placeholder 8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8812054" y="6444137"/>
            <a:ext cx="2278856" cy="190501"/>
          </a:xfrm>
        </p:spPr>
        <p:txBody>
          <a:bodyPr/>
          <a:lstStyle/>
          <a:p>
            <a:r>
              <a:rPr lang="en-GB" dirty="0"/>
              <a:t>CORPORATE PRESENTATION</a:t>
            </a:r>
          </a:p>
        </p:txBody>
      </p:sp>
      <p:sp>
        <p:nvSpPr>
          <p:cNvPr id="45" name="Platshållare för bildnummer 6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11061382" y="6444138"/>
            <a:ext cx="191505" cy="190501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1617BE-BA58-4B59-88D5-A8C7B239E913}" type="slidenum">
              <a:rPr kumimoji="0" lang="en-GB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8" name="Product system">
            <a:extLst>
              <a:ext uri="{FF2B5EF4-FFF2-40B4-BE49-F238E27FC236}">
                <a16:creationId xmlns:a16="http://schemas.microsoft.com/office/drawing/2014/main" id="{9F1CC010-255C-7645-9ACB-652D726A4A88}"/>
              </a:ext>
            </a:extLst>
          </p:cNvPr>
          <p:cNvSpPr txBox="1"/>
          <p:nvPr/>
        </p:nvSpPr>
        <p:spPr>
          <a:xfrm>
            <a:off x="5268991" y="5874216"/>
            <a:ext cx="1890839" cy="307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45720" bIns="45720">
            <a:spAutoFit/>
          </a:bodyPr>
          <a:lstStyle>
            <a:lvl1pPr algn="ctr" defTabSz="1828800">
              <a:lnSpc>
                <a:spcPct val="110000"/>
              </a:lnSpc>
              <a:spcBef>
                <a:spcPts val="0"/>
              </a:spcBef>
              <a:defRPr sz="2800" b="1">
                <a:solidFill>
                  <a:srgbClr val="53585F"/>
                </a:solidFill>
                <a:latin typeface="Futura LT Book"/>
                <a:ea typeface="Futura LT Book"/>
                <a:cs typeface="Futura LT Book"/>
                <a:sym typeface="Futura LT Book"/>
              </a:defRPr>
            </a:lvl1pPr>
          </a:lstStyle>
          <a:p>
            <a:pPr marL="0" marR="0" lvl="0" indent="0" algn="ctr" defTabSz="18288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System </a:t>
            </a:r>
            <a:r>
              <a:rPr kumimoji="0" lang="sv-S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of</a:t>
            </a:r>
            <a:r>
              <a:rPr kumimoji="0" lang="sv-SE" sz="1400" b="0" i="0" u="none" strike="noStrike" kern="0" cap="none" spc="0" normalizeH="0" baseline="0" noProof="0" dirty="0">
                <a:ln>
                  <a:noFill/>
                </a:ln>
                <a:solidFill>
                  <a:srgbClr val="53585F"/>
                </a:solidFill>
                <a:effectLst/>
                <a:uLnTx/>
                <a:uFillTx/>
                <a:latin typeface="+mj-lt"/>
                <a:ea typeface="Futura LT Book"/>
                <a:cs typeface="Futura LT Book"/>
                <a:sym typeface="Futura LT Book"/>
              </a:rPr>
              <a:t> system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53585F"/>
              </a:solidFill>
              <a:effectLst/>
              <a:uLnTx/>
              <a:uFillTx/>
              <a:latin typeface="+mj-lt"/>
              <a:ea typeface="Futura LT Book"/>
              <a:cs typeface="Futura LT Book"/>
              <a:sym typeface="Futura LT Book"/>
            </a:endParaRPr>
          </a:p>
        </p:txBody>
      </p:sp>
      <p:sp>
        <p:nvSpPr>
          <p:cNvPr id="52" name="Circle">
            <a:extLst>
              <a:ext uri="{FF2B5EF4-FFF2-40B4-BE49-F238E27FC236}">
                <a16:creationId xmlns:a16="http://schemas.microsoft.com/office/drawing/2014/main" id="{2CFA7119-6811-F341-B499-BBD7F31C8DEF}"/>
              </a:ext>
            </a:extLst>
          </p:cNvPr>
          <p:cNvSpPr/>
          <p:nvPr/>
        </p:nvSpPr>
        <p:spPr>
          <a:xfrm>
            <a:off x="5409015" y="889000"/>
            <a:ext cx="1610792" cy="1610792"/>
          </a:xfrm>
          <a:prstGeom prst="ellipse">
            <a:avLst/>
          </a:prstGeom>
          <a:ln w="28575">
            <a:solidFill>
              <a:schemeClr val="tx2"/>
            </a:solidFill>
            <a:miter/>
          </a:ln>
        </p:spPr>
        <p:txBody>
          <a:bodyPr tIns="45720" bIns="4572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kumimoji="0" sz="3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53" name="Circle">
            <a:extLst>
              <a:ext uri="{FF2B5EF4-FFF2-40B4-BE49-F238E27FC236}">
                <a16:creationId xmlns:a16="http://schemas.microsoft.com/office/drawing/2014/main" id="{F9352E80-C0E0-0A48-ABF6-49317D398C4D}"/>
              </a:ext>
            </a:extLst>
          </p:cNvPr>
          <p:cNvSpPr/>
          <p:nvPr/>
        </p:nvSpPr>
        <p:spPr>
          <a:xfrm>
            <a:off x="6794405" y="2160827"/>
            <a:ext cx="1610792" cy="1610794"/>
          </a:xfrm>
          <a:prstGeom prst="ellipse">
            <a:avLst/>
          </a:prstGeom>
          <a:ln w="28575">
            <a:solidFill>
              <a:schemeClr val="tx2"/>
            </a:solidFill>
            <a:miter/>
          </a:ln>
        </p:spPr>
        <p:txBody>
          <a:bodyPr tIns="45720" bIns="4572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kumimoji="0" sz="3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grpSp>
        <p:nvGrpSpPr>
          <p:cNvPr id="2" name="Grupp 1">
            <a:extLst>
              <a:ext uri="{FF2B5EF4-FFF2-40B4-BE49-F238E27FC236}">
                <a16:creationId xmlns:a16="http://schemas.microsoft.com/office/drawing/2014/main" id="{9219556A-E48F-F04E-A159-827F77856B14}"/>
              </a:ext>
            </a:extLst>
          </p:cNvPr>
          <p:cNvGrpSpPr/>
          <p:nvPr/>
        </p:nvGrpSpPr>
        <p:grpSpPr>
          <a:xfrm>
            <a:off x="4023624" y="2160827"/>
            <a:ext cx="1610792" cy="1610794"/>
            <a:chOff x="4023624" y="2160827"/>
            <a:chExt cx="1610792" cy="1610794"/>
          </a:xfrm>
        </p:grpSpPr>
        <p:sp>
          <p:nvSpPr>
            <p:cNvPr id="51" name="Circle">
              <a:extLst>
                <a:ext uri="{FF2B5EF4-FFF2-40B4-BE49-F238E27FC236}">
                  <a16:creationId xmlns:a16="http://schemas.microsoft.com/office/drawing/2014/main" id="{9718D78F-3B47-7440-8177-CBC828D09EF8}"/>
                </a:ext>
              </a:extLst>
            </p:cNvPr>
            <p:cNvSpPr/>
            <p:nvPr/>
          </p:nvSpPr>
          <p:spPr>
            <a:xfrm>
              <a:off x="4023624" y="2160827"/>
              <a:ext cx="1610792" cy="1610794"/>
            </a:xfrm>
            <a:prstGeom prst="ellipse">
              <a:avLst/>
            </a:prstGeom>
            <a:ln w="28575">
              <a:solidFill>
                <a:schemeClr val="tx2"/>
              </a:solidFill>
              <a:miter/>
            </a:ln>
          </p:spPr>
          <p:txBody>
            <a:bodyPr tIns="45720" bIns="4572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000000"/>
                  </a:solidFill>
                  <a:latin typeface="Verdana"/>
                  <a:ea typeface="Verdana"/>
                  <a:cs typeface="Verdana"/>
                  <a:sym typeface="Verdana"/>
                </a:defRPr>
              </a:pPr>
              <a:endParaRPr kumimoji="0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grpSp>
          <p:nvGrpSpPr>
            <p:cNvPr id="63" name="Grupp 62">
              <a:extLst>
                <a:ext uri="{FF2B5EF4-FFF2-40B4-BE49-F238E27FC236}">
                  <a16:creationId xmlns:a16="http://schemas.microsoft.com/office/drawing/2014/main" id="{D9CEEB3A-C847-314C-9E2D-540AEAE91DBC}"/>
                </a:ext>
              </a:extLst>
            </p:cNvPr>
            <p:cNvGrpSpPr/>
            <p:nvPr/>
          </p:nvGrpSpPr>
          <p:grpSpPr>
            <a:xfrm>
              <a:off x="4436091" y="2677806"/>
              <a:ext cx="694432" cy="606462"/>
              <a:chOff x="4763" y="3911601"/>
              <a:chExt cx="827088" cy="722313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64" name="Freeform 53">
                <a:extLst>
                  <a:ext uri="{FF2B5EF4-FFF2-40B4-BE49-F238E27FC236}">
                    <a16:creationId xmlns:a16="http://schemas.microsoft.com/office/drawing/2014/main" id="{957D0261-80DD-2E4A-8A8C-9DCB58652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413" y="4416426"/>
                <a:ext cx="158750" cy="160338"/>
              </a:xfrm>
              <a:custGeom>
                <a:avLst/>
                <a:gdLst>
                  <a:gd name="T0" fmla="*/ 55 w 69"/>
                  <a:gd name="T1" fmla="*/ 3 h 69"/>
                  <a:gd name="T2" fmla="*/ 3 w 69"/>
                  <a:gd name="T3" fmla="*/ 56 h 69"/>
                  <a:gd name="T4" fmla="*/ 3 w 69"/>
                  <a:gd name="T5" fmla="*/ 67 h 69"/>
                  <a:gd name="T6" fmla="*/ 8 w 69"/>
                  <a:gd name="T7" fmla="*/ 69 h 69"/>
                  <a:gd name="T8" fmla="*/ 14 w 69"/>
                  <a:gd name="T9" fmla="*/ 67 h 69"/>
                  <a:gd name="T10" fmla="*/ 66 w 69"/>
                  <a:gd name="T11" fmla="*/ 14 h 69"/>
                  <a:gd name="T12" fmla="*/ 66 w 69"/>
                  <a:gd name="T13" fmla="*/ 3 h 69"/>
                  <a:gd name="T14" fmla="*/ 55 w 69"/>
                  <a:gd name="T15" fmla="*/ 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9" h="69">
                    <a:moveTo>
                      <a:pt x="55" y="3"/>
                    </a:moveTo>
                    <a:cubicBezTo>
                      <a:pt x="55" y="3"/>
                      <a:pt x="55" y="3"/>
                      <a:pt x="3" y="56"/>
                    </a:cubicBezTo>
                    <a:cubicBezTo>
                      <a:pt x="0" y="59"/>
                      <a:pt x="0" y="64"/>
                      <a:pt x="3" y="67"/>
                    </a:cubicBezTo>
                    <a:cubicBezTo>
                      <a:pt x="4" y="69"/>
                      <a:pt x="6" y="69"/>
                      <a:pt x="8" y="69"/>
                    </a:cubicBezTo>
                    <a:cubicBezTo>
                      <a:pt x="10" y="69"/>
                      <a:pt x="12" y="69"/>
                      <a:pt x="14" y="67"/>
                    </a:cubicBezTo>
                    <a:cubicBezTo>
                      <a:pt x="14" y="67"/>
                      <a:pt x="14" y="67"/>
                      <a:pt x="66" y="14"/>
                    </a:cubicBezTo>
                    <a:cubicBezTo>
                      <a:pt x="69" y="11"/>
                      <a:pt x="69" y="6"/>
                      <a:pt x="66" y="3"/>
                    </a:cubicBezTo>
                    <a:cubicBezTo>
                      <a:pt x="63" y="0"/>
                      <a:pt x="58" y="0"/>
                      <a:pt x="55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Freeform 54">
                <a:extLst>
                  <a:ext uri="{FF2B5EF4-FFF2-40B4-BE49-F238E27FC236}">
                    <a16:creationId xmlns:a16="http://schemas.microsoft.com/office/drawing/2014/main" id="{9BA03864-D658-D64C-9A18-BAA75CCB6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075" y="4394201"/>
                <a:ext cx="34925" cy="92075"/>
              </a:xfrm>
              <a:custGeom>
                <a:avLst/>
                <a:gdLst>
                  <a:gd name="T0" fmla="*/ 15 w 15"/>
                  <a:gd name="T1" fmla="*/ 32 h 40"/>
                  <a:gd name="T2" fmla="*/ 15 w 15"/>
                  <a:gd name="T3" fmla="*/ 8 h 40"/>
                  <a:gd name="T4" fmla="*/ 8 w 15"/>
                  <a:gd name="T5" fmla="*/ 0 h 40"/>
                  <a:gd name="T6" fmla="*/ 0 w 15"/>
                  <a:gd name="T7" fmla="*/ 8 h 40"/>
                  <a:gd name="T8" fmla="*/ 0 w 15"/>
                  <a:gd name="T9" fmla="*/ 32 h 40"/>
                  <a:gd name="T10" fmla="*/ 8 w 15"/>
                  <a:gd name="T11" fmla="*/ 40 h 40"/>
                  <a:gd name="T12" fmla="*/ 15 w 15"/>
                  <a:gd name="T13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40">
                    <a:moveTo>
                      <a:pt x="15" y="32"/>
                    </a:moveTo>
                    <a:cubicBezTo>
                      <a:pt x="15" y="32"/>
                      <a:pt x="15" y="32"/>
                      <a:pt x="15" y="8"/>
                    </a:cubicBezTo>
                    <a:cubicBezTo>
                      <a:pt x="15" y="3"/>
                      <a:pt x="12" y="0"/>
                      <a:pt x="8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32"/>
                    </a:cubicBezTo>
                    <a:cubicBezTo>
                      <a:pt x="0" y="37"/>
                      <a:pt x="3" y="40"/>
                      <a:pt x="8" y="40"/>
                    </a:cubicBezTo>
                    <a:cubicBezTo>
                      <a:pt x="12" y="40"/>
                      <a:pt x="15" y="37"/>
                      <a:pt x="15" y="3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Freeform 55">
                <a:extLst>
                  <a:ext uri="{FF2B5EF4-FFF2-40B4-BE49-F238E27FC236}">
                    <a16:creationId xmlns:a16="http://schemas.microsoft.com/office/drawing/2014/main" id="{DBDD0761-D5B8-3740-AD4D-1E10D0694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" y="4311651"/>
                <a:ext cx="219075" cy="215900"/>
              </a:xfrm>
              <a:custGeom>
                <a:avLst/>
                <a:gdLst>
                  <a:gd name="T0" fmla="*/ 80 w 95"/>
                  <a:gd name="T1" fmla="*/ 3 h 94"/>
                  <a:gd name="T2" fmla="*/ 3 w 95"/>
                  <a:gd name="T3" fmla="*/ 81 h 94"/>
                  <a:gd name="T4" fmla="*/ 4 w 95"/>
                  <a:gd name="T5" fmla="*/ 92 h 94"/>
                  <a:gd name="T6" fmla="*/ 9 w 95"/>
                  <a:gd name="T7" fmla="*/ 94 h 94"/>
                  <a:gd name="T8" fmla="*/ 15 w 95"/>
                  <a:gd name="T9" fmla="*/ 92 h 94"/>
                  <a:gd name="T10" fmla="*/ 91 w 95"/>
                  <a:gd name="T11" fmla="*/ 14 h 94"/>
                  <a:gd name="T12" fmla="*/ 91 w 95"/>
                  <a:gd name="T13" fmla="*/ 3 h 94"/>
                  <a:gd name="T14" fmla="*/ 80 w 95"/>
                  <a:gd name="T15" fmla="*/ 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94">
                    <a:moveTo>
                      <a:pt x="80" y="3"/>
                    </a:moveTo>
                    <a:cubicBezTo>
                      <a:pt x="80" y="3"/>
                      <a:pt x="80" y="3"/>
                      <a:pt x="3" y="81"/>
                    </a:cubicBezTo>
                    <a:cubicBezTo>
                      <a:pt x="0" y="84"/>
                      <a:pt x="0" y="89"/>
                      <a:pt x="4" y="92"/>
                    </a:cubicBezTo>
                    <a:cubicBezTo>
                      <a:pt x="5" y="93"/>
                      <a:pt x="7" y="94"/>
                      <a:pt x="9" y="94"/>
                    </a:cubicBezTo>
                    <a:cubicBezTo>
                      <a:pt x="11" y="94"/>
                      <a:pt x="13" y="93"/>
                      <a:pt x="15" y="92"/>
                    </a:cubicBezTo>
                    <a:cubicBezTo>
                      <a:pt x="15" y="92"/>
                      <a:pt x="15" y="92"/>
                      <a:pt x="91" y="14"/>
                    </a:cubicBezTo>
                    <a:cubicBezTo>
                      <a:pt x="95" y="10"/>
                      <a:pt x="94" y="6"/>
                      <a:pt x="91" y="3"/>
                    </a:cubicBezTo>
                    <a:cubicBezTo>
                      <a:pt x="88" y="0"/>
                      <a:pt x="83" y="0"/>
                      <a:pt x="8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56">
                <a:extLst>
                  <a:ext uri="{FF2B5EF4-FFF2-40B4-BE49-F238E27FC236}">
                    <a16:creationId xmlns:a16="http://schemas.microsoft.com/office/drawing/2014/main" id="{D8CDABA6-43E1-5C49-8171-CE5EC0736F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3" y="3911601"/>
                <a:ext cx="827088" cy="344488"/>
              </a:xfrm>
              <a:custGeom>
                <a:avLst/>
                <a:gdLst>
                  <a:gd name="T0" fmla="*/ 1 w 358"/>
                  <a:gd name="T1" fmla="*/ 95 h 149"/>
                  <a:gd name="T2" fmla="*/ 0 w 358"/>
                  <a:gd name="T3" fmla="*/ 103 h 149"/>
                  <a:gd name="T4" fmla="*/ 46 w 358"/>
                  <a:gd name="T5" fmla="*/ 149 h 149"/>
                  <a:gd name="T6" fmla="*/ 79 w 358"/>
                  <a:gd name="T7" fmla="*/ 135 h 149"/>
                  <a:gd name="T8" fmla="*/ 113 w 358"/>
                  <a:gd name="T9" fmla="*/ 149 h 149"/>
                  <a:gd name="T10" fmla="*/ 146 w 358"/>
                  <a:gd name="T11" fmla="*/ 135 h 149"/>
                  <a:gd name="T12" fmla="*/ 179 w 358"/>
                  <a:gd name="T13" fmla="*/ 149 h 149"/>
                  <a:gd name="T14" fmla="*/ 212 w 358"/>
                  <a:gd name="T15" fmla="*/ 135 h 149"/>
                  <a:gd name="T16" fmla="*/ 246 w 358"/>
                  <a:gd name="T17" fmla="*/ 149 h 149"/>
                  <a:gd name="T18" fmla="*/ 279 w 358"/>
                  <a:gd name="T19" fmla="*/ 135 h 149"/>
                  <a:gd name="T20" fmla="*/ 312 w 358"/>
                  <a:gd name="T21" fmla="*/ 149 h 149"/>
                  <a:gd name="T22" fmla="*/ 358 w 358"/>
                  <a:gd name="T23" fmla="*/ 103 h 149"/>
                  <a:gd name="T24" fmla="*/ 357 w 358"/>
                  <a:gd name="T25" fmla="*/ 95 h 149"/>
                  <a:gd name="T26" fmla="*/ 357 w 358"/>
                  <a:gd name="T27" fmla="*/ 93 h 149"/>
                  <a:gd name="T28" fmla="*/ 319 w 358"/>
                  <a:gd name="T29" fmla="*/ 4 h 149"/>
                  <a:gd name="T30" fmla="*/ 311 w 358"/>
                  <a:gd name="T31" fmla="*/ 0 h 149"/>
                  <a:gd name="T32" fmla="*/ 47 w 358"/>
                  <a:gd name="T33" fmla="*/ 0 h 149"/>
                  <a:gd name="T34" fmla="*/ 40 w 358"/>
                  <a:gd name="T35" fmla="*/ 4 h 149"/>
                  <a:gd name="T36" fmla="*/ 1 w 358"/>
                  <a:gd name="T37" fmla="*/ 93 h 149"/>
                  <a:gd name="T38" fmla="*/ 1 w 358"/>
                  <a:gd name="T39" fmla="*/ 95 h 149"/>
                  <a:gd name="T40" fmla="*/ 306 w 358"/>
                  <a:gd name="T41" fmla="*/ 15 h 149"/>
                  <a:gd name="T42" fmla="*/ 342 w 358"/>
                  <a:gd name="T43" fmla="*/ 99 h 149"/>
                  <a:gd name="T44" fmla="*/ 342 w 358"/>
                  <a:gd name="T45" fmla="*/ 103 h 149"/>
                  <a:gd name="T46" fmla="*/ 312 w 358"/>
                  <a:gd name="T47" fmla="*/ 133 h 149"/>
                  <a:gd name="T48" fmla="*/ 286 w 358"/>
                  <a:gd name="T49" fmla="*/ 118 h 149"/>
                  <a:gd name="T50" fmla="*/ 285 w 358"/>
                  <a:gd name="T51" fmla="*/ 117 h 149"/>
                  <a:gd name="T52" fmla="*/ 269 w 358"/>
                  <a:gd name="T53" fmla="*/ 15 h 149"/>
                  <a:gd name="T54" fmla="*/ 306 w 358"/>
                  <a:gd name="T55" fmla="*/ 15 h 149"/>
                  <a:gd name="T56" fmla="*/ 253 w 358"/>
                  <a:gd name="T57" fmla="*/ 15 h 149"/>
                  <a:gd name="T58" fmla="*/ 270 w 358"/>
                  <a:gd name="T59" fmla="*/ 120 h 149"/>
                  <a:gd name="T60" fmla="*/ 270 w 358"/>
                  <a:gd name="T61" fmla="*/ 121 h 149"/>
                  <a:gd name="T62" fmla="*/ 246 w 358"/>
                  <a:gd name="T63" fmla="*/ 133 h 149"/>
                  <a:gd name="T64" fmla="*/ 219 w 358"/>
                  <a:gd name="T65" fmla="*/ 118 h 149"/>
                  <a:gd name="T66" fmla="*/ 214 w 358"/>
                  <a:gd name="T67" fmla="*/ 15 h 149"/>
                  <a:gd name="T68" fmla="*/ 253 w 358"/>
                  <a:gd name="T69" fmla="*/ 15 h 149"/>
                  <a:gd name="T70" fmla="*/ 158 w 358"/>
                  <a:gd name="T71" fmla="*/ 15 h 149"/>
                  <a:gd name="T72" fmla="*/ 198 w 358"/>
                  <a:gd name="T73" fmla="*/ 15 h 149"/>
                  <a:gd name="T74" fmla="*/ 204 w 358"/>
                  <a:gd name="T75" fmla="*/ 119 h 149"/>
                  <a:gd name="T76" fmla="*/ 204 w 358"/>
                  <a:gd name="T77" fmla="*/ 121 h 149"/>
                  <a:gd name="T78" fmla="*/ 179 w 358"/>
                  <a:gd name="T79" fmla="*/ 133 h 149"/>
                  <a:gd name="T80" fmla="*/ 153 w 358"/>
                  <a:gd name="T81" fmla="*/ 118 h 149"/>
                  <a:gd name="T82" fmla="*/ 158 w 358"/>
                  <a:gd name="T83" fmla="*/ 15 h 149"/>
                  <a:gd name="T84" fmla="*/ 143 w 358"/>
                  <a:gd name="T85" fmla="*/ 15 h 149"/>
                  <a:gd name="T86" fmla="*/ 137 w 358"/>
                  <a:gd name="T87" fmla="*/ 118 h 149"/>
                  <a:gd name="T88" fmla="*/ 137 w 358"/>
                  <a:gd name="T89" fmla="*/ 120 h 149"/>
                  <a:gd name="T90" fmla="*/ 113 w 358"/>
                  <a:gd name="T91" fmla="*/ 133 h 149"/>
                  <a:gd name="T92" fmla="*/ 87 w 358"/>
                  <a:gd name="T93" fmla="*/ 119 h 149"/>
                  <a:gd name="T94" fmla="*/ 103 w 358"/>
                  <a:gd name="T95" fmla="*/ 15 h 149"/>
                  <a:gd name="T96" fmla="*/ 143 w 358"/>
                  <a:gd name="T97" fmla="*/ 15 h 149"/>
                  <a:gd name="T98" fmla="*/ 16 w 358"/>
                  <a:gd name="T99" fmla="*/ 99 h 149"/>
                  <a:gd name="T100" fmla="*/ 52 w 358"/>
                  <a:gd name="T101" fmla="*/ 15 h 149"/>
                  <a:gd name="T102" fmla="*/ 87 w 358"/>
                  <a:gd name="T103" fmla="*/ 15 h 149"/>
                  <a:gd name="T104" fmla="*/ 71 w 358"/>
                  <a:gd name="T105" fmla="*/ 117 h 149"/>
                  <a:gd name="T106" fmla="*/ 71 w 358"/>
                  <a:gd name="T107" fmla="*/ 120 h 149"/>
                  <a:gd name="T108" fmla="*/ 46 w 358"/>
                  <a:gd name="T109" fmla="*/ 133 h 149"/>
                  <a:gd name="T110" fmla="*/ 16 w 358"/>
                  <a:gd name="T111" fmla="*/ 103 h 149"/>
                  <a:gd name="T112" fmla="*/ 16 w 358"/>
                  <a:gd name="T113" fmla="*/ 9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58" h="149">
                    <a:moveTo>
                      <a:pt x="1" y="95"/>
                    </a:moveTo>
                    <a:cubicBezTo>
                      <a:pt x="0" y="98"/>
                      <a:pt x="0" y="100"/>
                      <a:pt x="0" y="103"/>
                    </a:cubicBezTo>
                    <a:cubicBezTo>
                      <a:pt x="0" y="128"/>
                      <a:pt x="21" y="149"/>
                      <a:pt x="46" y="149"/>
                    </a:cubicBezTo>
                    <a:cubicBezTo>
                      <a:pt x="59" y="149"/>
                      <a:pt x="71" y="144"/>
                      <a:pt x="79" y="135"/>
                    </a:cubicBezTo>
                    <a:cubicBezTo>
                      <a:pt x="88" y="144"/>
                      <a:pt x="100" y="149"/>
                      <a:pt x="113" y="149"/>
                    </a:cubicBezTo>
                    <a:cubicBezTo>
                      <a:pt x="125" y="149"/>
                      <a:pt x="137" y="144"/>
                      <a:pt x="146" y="135"/>
                    </a:cubicBezTo>
                    <a:cubicBezTo>
                      <a:pt x="154" y="144"/>
                      <a:pt x="166" y="149"/>
                      <a:pt x="179" y="149"/>
                    </a:cubicBezTo>
                    <a:cubicBezTo>
                      <a:pt x="192" y="149"/>
                      <a:pt x="204" y="144"/>
                      <a:pt x="212" y="135"/>
                    </a:cubicBezTo>
                    <a:cubicBezTo>
                      <a:pt x="221" y="144"/>
                      <a:pt x="233" y="149"/>
                      <a:pt x="246" y="149"/>
                    </a:cubicBezTo>
                    <a:cubicBezTo>
                      <a:pt x="258" y="149"/>
                      <a:pt x="270" y="144"/>
                      <a:pt x="279" y="135"/>
                    </a:cubicBezTo>
                    <a:cubicBezTo>
                      <a:pt x="287" y="144"/>
                      <a:pt x="299" y="149"/>
                      <a:pt x="312" y="149"/>
                    </a:cubicBezTo>
                    <a:cubicBezTo>
                      <a:pt x="337" y="149"/>
                      <a:pt x="358" y="128"/>
                      <a:pt x="358" y="103"/>
                    </a:cubicBezTo>
                    <a:cubicBezTo>
                      <a:pt x="358" y="100"/>
                      <a:pt x="358" y="98"/>
                      <a:pt x="357" y="95"/>
                    </a:cubicBezTo>
                    <a:cubicBezTo>
                      <a:pt x="357" y="94"/>
                      <a:pt x="357" y="94"/>
                      <a:pt x="357" y="93"/>
                    </a:cubicBezTo>
                    <a:cubicBezTo>
                      <a:pt x="357" y="93"/>
                      <a:pt x="357" y="93"/>
                      <a:pt x="319" y="4"/>
                    </a:cubicBezTo>
                    <a:cubicBezTo>
                      <a:pt x="317" y="1"/>
                      <a:pt x="315" y="0"/>
                      <a:pt x="311" y="0"/>
                    </a:cubicBezTo>
                    <a:cubicBezTo>
                      <a:pt x="311" y="0"/>
                      <a:pt x="311" y="0"/>
                      <a:pt x="47" y="0"/>
                    </a:cubicBezTo>
                    <a:cubicBezTo>
                      <a:pt x="44" y="0"/>
                      <a:pt x="41" y="1"/>
                      <a:pt x="40" y="4"/>
                    </a:cubicBezTo>
                    <a:cubicBezTo>
                      <a:pt x="40" y="4"/>
                      <a:pt x="40" y="4"/>
                      <a:pt x="1" y="93"/>
                    </a:cubicBezTo>
                    <a:cubicBezTo>
                      <a:pt x="1" y="94"/>
                      <a:pt x="1" y="94"/>
                      <a:pt x="1" y="95"/>
                    </a:cubicBezTo>
                    <a:close/>
                    <a:moveTo>
                      <a:pt x="306" y="15"/>
                    </a:moveTo>
                    <a:cubicBezTo>
                      <a:pt x="306" y="15"/>
                      <a:pt x="306" y="15"/>
                      <a:pt x="342" y="99"/>
                    </a:cubicBezTo>
                    <a:cubicBezTo>
                      <a:pt x="342" y="100"/>
                      <a:pt x="342" y="102"/>
                      <a:pt x="342" y="103"/>
                    </a:cubicBezTo>
                    <a:cubicBezTo>
                      <a:pt x="342" y="120"/>
                      <a:pt x="329" y="133"/>
                      <a:pt x="312" y="133"/>
                    </a:cubicBezTo>
                    <a:cubicBezTo>
                      <a:pt x="301" y="133"/>
                      <a:pt x="291" y="127"/>
                      <a:pt x="286" y="118"/>
                    </a:cubicBezTo>
                    <a:cubicBezTo>
                      <a:pt x="285" y="117"/>
                      <a:pt x="285" y="117"/>
                      <a:pt x="285" y="117"/>
                    </a:cubicBezTo>
                    <a:cubicBezTo>
                      <a:pt x="269" y="15"/>
                      <a:pt x="269" y="15"/>
                      <a:pt x="269" y="15"/>
                    </a:cubicBezTo>
                    <a:cubicBezTo>
                      <a:pt x="269" y="15"/>
                      <a:pt x="269" y="15"/>
                      <a:pt x="306" y="15"/>
                    </a:cubicBezTo>
                    <a:close/>
                    <a:moveTo>
                      <a:pt x="253" y="15"/>
                    </a:moveTo>
                    <a:cubicBezTo>
                      <a:pt x="253" y="15"/>
                      <a:pt x="253" y="15"/>
                      <a:pt x="270" y="120"/>
                    </a:cubicBezTo>
                    <a:cubicBezTo>
                      <a:pt x="270" y="121"/>
                      <a:pt x="270" y="121"/>
                      <a:pt x="270" y="121"/>
                    </a:cubicBezTo>
                    <a:cubicBezTo>
                      <a:pt x="264" y="129"/>
                      <a:pt x="255" y="133"/>
                      <a:pt x="246" y="133"/>
                    </a:cubicBezTo>
                    <a:cubicBezTo>
                      <a:pt x="235" y="133"/>
                      <a:pt x="225" y="127"/>
                      <a:pt x="219" y="118"/>
                    </a:cubicBezTo>
                    <a:cubicBezTo>
                      <a:pt x="214" y="15"/>
                      <a:pt x="214" y="15"/>
                      <a:pt x="214" y="15"/>
                    </a:cubicBezTo>
                    <a:cubicBezTo>
                      <a:pt x="214" y="15"/>
                      <a:pt x="214" y="15"/>
                      <a:pt x="253" y="15"/>
                    </a:cubicBezTo>
                    <a:close/>
                    <a:moveTo>
                      <a:pt x="158" y="15"/>
                    </a:moveTo>
                    <a:cubicBezTo>
                      <a:pt x="158" y="15"/>
                      <a:pt x="158" y="15"/>
                      <a:pt x="198" y="15"/>
                    </a:cubicBezTo>
                    <a:cubicBezTo>
                      <a:pt x="198" y="15"/>
                      <a:pt x="198" y="15"/>
                      <a:pt x="204" y="119"/>
                    </a:cubicBezTo>
                    <a:cubicBezTo>
                      <a:pt x="204" y="120"/>
                      <a:pt x="204" y="120"/>
                      <a:pt x="204" y="121"/>
                    </a:cubicBezTo>
                    <a:cubicBezTo>
                      <a:pt x="198" y="129"/>
                      <a:pt x="189" y="133"/>
                      <a:pt x="179" y="133"/>
                    </a:cubicBezTo>
                    <a:cubicBezTo>
                      <a:pt x="168" y="133"/>
                      <a:pt x="158" y="128"/>
                      <a:pt x="153" y="118"/>
                    </a:cubicBezTo>
                    <a:lnTo>
                      <a:pt x="158" y="15"/>
                    </a:lnTo>
                    <a:close/>
                    <a:moveTo>
                      <a:pt x="143" y="15"/>
                    </a:moveTo>
                    <a:cubicBezTo>
                      <a:pt x="143" y="15"/>
                      <a:pt x="143" y="15"/>
                      <a:pt x="137" y="118"/>
                    </a:cubicBezTo>
                    <a:cubicBezTo>
                      <a:pt x="137" y="119"/>
                      <a:pt x="137" y="120"/>
                      <a:pt x="137" y="120"/>
                    </a:cubicBezTo>
                    <a:cubicBezTo>
                      <a:pt x="132" y="129"/>
                      <a:pt x="123" y="133"/>
                      <a:pt x="113" y="133"/>
                    </a:cubicBezTo>
                    <a:cubicBezTo>
                      <a:pt x="102" y="133"/>
                      <a:pt x="92" y="128"/>
                      <a:pt x="87" y="119"/>
                    </a:cubicBezTo>
                    <a:cubicBezTo>
                      <a:pt x="103" y="15"/>
                      <a:pt x="103" y="15"/>
                      <a:pt x="103" y="15"/>
                    </a:cubicBezTo>
                    <a:cubicBezTo>
                      <a:pt x="103" y="15"/>
                      <a:pt x="103" y="15"/>
                      <a:pt x="143" y="15"/>
                    </a:cubicBezTo>
                    <a:close/>
                    <a:moveTo>
                      <a:pt x="16" y="99"/>
                    </a:moveTo>
                    <a:cubicBezTo>
                      <a:pt x="52" y="15"/>
                      <a:pt x="52" y="15"/>
                      <a:pt x="52" y="15"/>
                    </a:cubicBezTo>
                    <a:cubicBezTo>
                      <a:pt x="52" y="15"/>
                      <a:pt x="52" y="15"/>
                      <a:pt x="87" y="15"/>
                    </a:cubicBezTo>
                    <a:cubicBezTo>
                      <a:pt x="87" y="15"/>
                      <a:pt x="87" y="15"/>
                      <a:pt x="71" y="117"/>
                    </a:cubicBezTo>
                    <a:cubicBezTo>
                      <a:pt x="71" y="118"/>
                      <a:pt x="71" y="119"/>
                      <a:pt x="71" y="120"/>
                    </a:cubicBezTo>
                    <a:cubicBezTo>
                      <a:pt x="65" y="128"/>
                      <a:pt x="56" y="133"/>
                      <a:pt x="46" y="133"/>
                    </a:cubicBezTo>
                    <a:cubicBezTo>
                      <a:pt x="29" y="133"/>
                      <a:pt x="16" y="120"/>
                      <a:pt x="16" y="103"/>
                    </a:cubicBezTo>
                    <a:cubicBezTo>
                      <a:pt x="16" y="102"/>
                      <a:pt x="16" y="100"/>
                      <a:pt x="16" y="9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57">
                <a:extLst>
                  <a:ext uri="{FF2B5EF4-FFF2-40B4-BE49-F238E27FC236}">
                    <a16:creationId xmlns:a16="http://schemas.microsoft.com/office/drawing/2014/main" id="{BC40C6C3-BAB3-F540-A716-D1F3B3618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0" y="4295776"/>
                <a:ext cx="825500" cy="338138"/>
              </a:xfrm>
              <a:custGeom>
                <a:avLst/>
                <a:gdLst>
                  <a:gd name="T0" fmla="*/ 357 w 357"/>
                  <a:gd name="T1" fmla="*/ 140 h 147"/>
                  <a:gd name="T2" fmla="*/ 349 w 357"/>
                  <a:gd name="T3" fmla="*/ 132 h 147"/>
                  <a:gd name="T4" fmla="*/ 321 w 357"/>
                  <a:gd name="T5" fmla="*/ 132 h 147"/>
                  <a:gd name="T6" fmla="*/ 321 w 357"/>
                  <a:gd name="T7" fmla="*/ 8 h 147"/>
                  <a:gd name="T8" fmla="*/ 313 w 357"/>
                  <a:gd name="T9" fmla="*/ 0 h 147"/>
                  <a:gd name="T10" fmla="*/ 305 w 357"/>
                  <a:gd name="T11" fmla="*/ 8 h 147"/>
                  <a:gd name="T12" fmla="*/ 305 w 357"/>
                  <a:gd name="T13" fmla="*/ 132 h 147"/>
                  <a:gd name="T14" fmla="*/ 135 w 357"/>
                  <a:gd name="T15" fmla="*/ 132 h 147"/>
                  <a:gd name="T16" fmla="*/ 135 w 357"/>
                  <a:gd name="T17" fmla="*/ 8 h 147"/>
                  <a:gd name="T18" fmla="*/ 128 w 357"/>
                  <a:gd name="T19" fmla="*/ 0 h 147"/>
                  <a:gd name="T20" fmla="*/ 120 w 357"/>
                  <a:gd name="T21" fmla="*/ 8 h 147"/>
                  <a:gd name="T22" fmla="*/ 120 w 357"/>
                  <a:gd name="T23" fmla="*/ 132 h 147"/>
                  <a:gd name="T24" fmla="*/ 51 w 357"/>
                  <a:gd name="T25" fmla="*/ 132 h 147"/>
                  <a:gd name="T26" fmla="*/ 51 w 357"/>
                  <a:gd name="T27" fmla="*/ 8 h 147"/>
                  <a:gd name="T28" fmla="*/ 43 w 357"/>
                  <a:gd name="T29" fmla="*/ 0 h 147"/>
                  <a:gd name="T30" fmla="*/ 36 w 357"/>
                  <a:gd name="T31" fmla="*/ 8 h 147"/>
                  <a:gd name="T32" fmla="*/ 36 w 357"/>
                  <a:gd name="T33" fmla="*/ 132 h 147"/>
                  <a:gd name="T34" fmla="*/ 7 w 357"/>
                  <a:gd name="T35" fmla="*/ 132 h 147"/>
                  <a:gd name="T36" fmla="*/ 0 w 357"/>
                  <a:gd name="T37" fmla="*/ 140 h 147"/>
                  <a:gd name="T38" fmla="*/ 7 w 357"/>
                  <a:gd name="T39" fmla="*/ 147 h 147"/>
                  <a:gd name="T40" fmla="*/ 349 w 357"/>
                  <a:gd name="T41" fmla="*/ 147 h 147"/>
                  <a:gd name="T42" fmla="*/ 357 w 357"/>
                  <a:gd name="T43" fmla="*/ 14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7" h="147">
                    <a:moveTo>
                      <a:pt x="357" y="140"/>
                    </a:moveTo>
                    <a:cubicBezTo>
                      <a:pt x="357" y="135"/>
                      <a:pt x="353" y="132"/>
                      <a:pt x="349" y="132"/>
                    </a:cubicBezTo>
                    <a:cubicBezTo>
                      <a:pt x="349" y="132"/>
                      <a:pt x="349" y="132"/>
                      <a:pt x="321" y="132"/>
                    </a:cubicBezTo>
                    <a:cubicBezTo>
                      <a:pt x="321" y="132"/>
                      <a:pt x="321" y="132"/>
                      <a:pt x="321" y="8"/>
                    </a:cubicBezTo>
                    <a:cubicBezTo>
                      <a:pt x="321" y="4"/>
                      <a:pt x="317" y="0"/>
                      <a:pt x="313" y="0"/>
                    </a:cubicBezTo>
                    <a:cubicBezTo>
                      <a:pt x="309" y="0"/>
                      <a:pt x="305" y="4"/>
                      <a:pt x="305" y="8"/>
                    </a:cubicBezTo>
                    <a:cubicBezTo>
                      <a:pt x="305" y="8"/>
                      <a:pt x="305" y="8"/>
                      <a:pt x="305" y="132"/>
                    </a:cubicBezTo>
                    <a:cubicBezTo>
                      <a:pt x="305" y="132"/>
                      <a:pt x="305" y="132"/>
                      <a:pt x="135" y="132"/>
                    </a:cubicBezTo>
                    <a:cubicBezTo>
                      <a:pt x="135" y="132"/>
                      <a:pt x="135" y="132"/>
                      <a:pt x="135" y="8"/>
                    </a:cubicBezTo>
                    <a:cubicBezTo>
                      <a:pt x="135" y="4"/>
                      <a:pt x="132" y="0"/>
                      <a:pt x="128" y="0"/>
                    </a:cubicBezTo>
                    <a:cubicBezTo>
                      <a:pt x="123" y="0"/>
                      <a:pt x="120" y="4"/>
                      <a:pt x="120" y="8"/>
                    </a:cubicBezTo>
                    <a:cubicBezTo>
                      <a:pt x="120" y="8"/>
                      <a:pt x="120" y="8"/>
                      <a:pt x="120" y="132"/>
                    </a:cubicBezTo>
                    <a:cubicBezTo>
                      <a:pt x="120" y="132"/>
                      <a:pt x="120" y="132"/>
                      <a:pt x="51" y="132"/>
                    </a:cubicBezTo>
                    <a:cubicBezTo>
                      <a:pt x="51" y="132"/>
                      <a:pt x="51" y="132"/>
                      <a:pt x="51" y="8"/>
                    </a:cubicBezTo>
                    <a:cubicBezTo>
                      <a:pt x="51" y="4"/>
                      <a:pt x="48" y="0"/>
                      <a:pt x="43" y="0"/>
                    </a:cubicBezTo>
                    <a:cubicBezTo>
                      <a:pt x="39" y="0"/>
                      <a:pt x="36" y="4"/>
                      <a:pt x="36" y="8"/>
                    </a:cubicBezTo>
                    <a:cubicBezTo>
                      <a:pt x="36" y="8"/>
                      <a:pt x="36" y="8"/>
                      <a:pt x="36" y="132"/>
                    </a:cubicBezTo>
                    <a:cubicBezTo>
                      <a:pt x="36" y="132"/>
                      <a:pt x="36" y="132"/>
                      <a:pt x="7" y="132"/>
                    </a:cubicBezTo>
                    <a:cubicBezTo>
                      <a:pt x="3" y="132"/>
                      <a:pt x="0" y="135"/>
                      <a:pt x="0" y="140"/>
                    </a:cubicBezTo>
                    <a:cubicBezTo>
                      <a:pt x="0" y="144"/>
                      <a:pt x="3" y="147"/>
                      <a:pt x="7" y="147"/>
                    </a:cubicBezTo>
                    <a:cubicBezTo>
                      <a:pt x="7" y="147"/>
                      <a:pt x="7" y="147"/>
                      <a:pt x="349" y="147"/>
                    </a:cubicBezTo>
                    <a:cubicBezTo>
                      <a:pt x="353" y="147"/>
                      <a:pt x="357" y="144"/>
                      <a:pt x="357" y="14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09" name="Grupp 108">
            <a:extLst>
              <a:ext uri="{FF2B5EF4-FFF2-40B4-BE49-F238E27FC236}">
                <a16:creationId xmlns:a16="http://schemas.microsoft.com/office/drawing/2014/main" id="{12FF3FDF-A994-9E4A-9BA8-F20DE57B13C4}"/>
              </a:ext>
            </a:extLst>
          </p:cNvPr>
          <p:cNvGrpSpPr/>
          <p:nvPr/>
        </p:nvGrpSpPr>
        <p:grpSpPr>
          <a:xfrm>
            <a:off x="5881073" y="1309481"/>
            <a:ext cx="749525" cy="714452"/>
            <a:chOff x="6459538" y="2244726"/>
            <a:chExt cx="915988" cy="873125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10" name="Freeform 7">
              <a:extLst>
                <a:ext uri="{FF2B5EF4-FFF2-40B4-BE49-F238E27FC236}">
                  <a16:creationId xmlns:a16="http://schemas.microsoft.com/office/drawing/2014/main" id="{C68B4BA4-D890-BF4D-9896-E338954542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9538" y="2354263"/>
              <a:ext cx="793750" cy="763588"/>
            </a:xfrm>
            <a:custGeom>
              <a:avLst/>
              <a:gdLst>
                <a:gd name="T0" fmla="*/ 8 w 346"/>
                <a:gd name="T1" fmla="*/ 333 h 333"/>
                <a:gd name="T2" fmla="*/ 144 w 346"/>
                <a:gd name="T3" fmla="*/ 333 h 333"/>
                <a:gd name="T4" fmla="*/ 152 w 346"/>
                <a:gd name="T5" fmla="*/ 325 h 333"/>
                <a:gd name="T6" fmla="*/ 144 w 346"/>
                <a:gd name="T7" fmla="*/ 317 h 333"/>
                <a:gd name="T8" fmla="*/ 124 w 346"/>
                <a:gd name="T9" fmla="*/ 317 h 333"/>
                <a:gd name="T10" fmla="*/ 124 w 346"/>
                <a:gd name="T11" fmla="*/ 246 h 333"/>
                <a:gd name="T12" fmla="*/ 343 w 346"/>
                <a:gd name="T13" fmla="*/ 257 h 333"/>
                <a:gd name="T14" fmla="*/ 346 w 346"/>
                <a:gd name="T15" fmla="*/ 251 h 333"/>
                <a:gd name="T16" fmla="*/ 344 w 346"/>
                <a:gd name="T17" fmla="*/ 245 h 333"/>
                <a:gd name="T18" fmla="*/ 228 w 346"/>
                <a:gd name="T19" fmla="*/ 129 h 333"/>
                <a:gd name="T20" fmla="*/ 241 w 346"/>
                <a:gd name="T21" fmla="*/ 117 h 333"/>
                <a:gd name="T22" fmla="*/ 269 w 346"/>
                <a:gd name="T23" fmla="*/ 112 h 333"/>
                <a:gd name="T24" fmla="*/ 276 w 346"/>
                <a:gd name="T25" fmla="*/ 95 h 333"/>
                <a:gd name="T26" fmla="*/ 269 w 346"/>
                <a:gd name="T27" fmla="*/ 78 h 333"/>
                <a:gd name="T28" fmla="*/ 234 w 346"/>
                <a:gd name="T29" fmla="*/ 78 h 333"/>
                <a:gd name="T30" fmla="*/ 227 w 346"/>
                <a:gd name="T31" fmla="*/ 95 h 333"/>
                <a:gd name="T32" fmla="*/ 230 w 346"/>
                <a:gd name="T33" fmla="*/ 106 h 333"/>
                <a:gd name="T34" fmla="*/ 217 w 346"/>
                <a:gd name="T35" fmla="*/ 118 h 333"/>
                <a:gd name="T36" fmla="*/ 102 w 346"/>
                <a:gd name="T37" fmla="*/ 3 h 333"/>
                <a:gd name="T38" fmla="*/ 96 w 346"/>
                <a:gd name="T39" fmla="*/ 1 h 333"/>
                <a:gd name="T40" fmla="*/ 90 w 346"/>
                <a:gd name="T41" fmla="*/ 4 h 333"/>
                <a:gd name="T42" fmla="*/ 106 w 346"/>
                <a:gd name="T43" fmla="*/ 229 h 333"/>
                <a:gd name="T44" fmla="*/ 18 w 346"/>
                <a:gd name="T45" fmla="*/ 317 h 333"/>
                <a:gd name="T46" fmla="*/ 8 w 346"/>
                <a:gd name="T47" fmla="*/ 317 h 333"/>
                <a:gd name="T48" fmla="*/ 0 w 346"/>
                <a:gd name="T49" fmla="*/ 325 h 333"/>
                <a:gd name="T50" fmla="*/ 8 w 346"/>
                <a:gd name="T51" fmla="*/ 333 h 333"/>
                <a:gd name="T52" fmla="*/ 245 w 346"/>
                <a:gd name="T53" fmla="*/ 89 h 333"/>
                <a:gd name="T54" fmla="*/ 252 w 346"/>
                <a:gd name="T55" fmla="*/ 86 h 333"/>
                <a:gd name="T56" fmla="*/ 258 w 346"/>
                <a:gd name="T57" fmla="*/ 89 h 333"/>
                <a:gd name="T58" fmla="*/ 260 w 346"/>
                <a:gd name="T59" fmla="*/ 95 h 333"/>
                <a:gd name="T60" fmla="*/ 258 w 346"/>
                <a:gd name="T61" fmla="*/ 101 h 333"/>
                <a:gd name="T62" fmla="*/ 245 w 346"/>
                <a:gd name="T63" fmla="*/ 101 h 333"/>
                <a:gd name="T64" fmla="*/ 243 w 346"/>
                <a:gd name="T65" fmla="*/ 95 h 333"/>
                <a:gd name="T66" fmla="*/ 245 w 346"/>
                <a:gd name="T67" fmla="*/ 89 h 333"/>
                <a:gd name="T68" fmla="*/ 98 w 346"/>
                <a:gd name="T69" fmla="*/ 21 h 333"/>
                <a:gd name="T70" fmla="*/ 326 w 346"/>
                <a:gd name="T71" fmla="*/ 249 h 333"/>
                <a:gd name="T72" fmla="*/ 123 w 346"/>
                <a:gd name="T73" fmla="*/ 224 h 333"/>
                <a:gd name="T74" fmla="*/ 98 w 346"/>
                <a:gd name="T75" fmla="*/ 21 h 333"/>
                <a:gd name="T76" fmla="*/ 108 w 346"/>
                <a:gd name="T77" fmla="*/ 250 h 333"/>
                <a:gd name="T78" fmla="*/ 109 w 346"/>
                <a:gd name="T79" fmla="*/ 317 h 333"/>
                <a:gd name="T80" fmla="*/ 41 w 346"/>
                <a:gd name="T81" fmla="*/ 317 h 333"/>
                <a:gd name="T82" fmla="*/ 108 w 346"/>
                <a:gd name="T83" fmla="*/ 25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6" h="333">
                  <a:moveTo>
                    <a:pt x="8" y="333"/>
                  </a:moveTo>
                  <a:cubicBezTo>
                    <a:pt x="8" y="333"/>
                    <a:pt x="8" y="333"/>
                    <a:pt x="144" y="333"/>
                  </a:cubicBezTo>
                  <a:cubicBezTo>
                    <a:pt x="148" y="333"/>
                    <a:pt x="152" y="329"/>
                    <a:pt x="152" y="325"/>
                  </a:cubicBezTo>
                  <a:cubicBezTo>
                    <a:pt x="152" y="321"/>
                    <a:pt x="148" y="317"/>
                    <a:pt x="144" y="317"/>
                  </a:cubicBezTo>
                  <a:cubicBezTo>
                    <a:pt x="144" y="317"/>
                    <a:pt x="144" y="317"/>
                    <a:pt x="124" y="317"/>
                  </a:cubicBezTo>
                  <a:cubicBezTo>
                    <a:pt x="124" y="317"/>
                    <a:pt x="124" y="317"/>
                    <a:pt x="124" y="246"/>
                  </a:cubicBezTo>
                  <a:cubicBezTo>
                    <a:pt x="186" y="298"/>
                    <a:pt x="275" y="303"/>
                    <a:pt x="343" y="257"/>
                  </a:cubicBezTo>
                  <a:cubicBezTo>
                    <a:pt x="345" y="255"/>
                    <a:pt x="346" y="253"/>
                    <a:pt x="346" y="251"/>
                  </a:cubicBezTo>
                  <a:cubicBezTo>
                    <a:pt x="346" y="248"/>
                    <a:pt x="345" y="246"/>
                    <a:pt x="344" y="245"/>
                  </a:cubicBezTo>
                  <a:cubicBezTo>
                    <a:pt x="344" y="245"/>
                    <a:pt x="344" y="245"/>
                    <a:pt x="228" y="129"/>
                  </a:cubicBezTo>
                  <a:cubicBezTo>
                    <a:pt x="228" y="129"/>
                    <a:pt x="228" y="129"/>
                    <a:pt x="241" y="117"/>
                  </a:cubicBezTo>
                  <a:cubicBezTo>
                    <a:pt x="250" y="121"/>
                    <a:pt x="262" y="120"/>
                    <a:pt x="269" y="112"/>
                  </a:cubicBezTo>
                  <a:cubicBezTo>
                    <a:pt x="273" y="108"/>
                    <a:pt x="276" y="102"/>
                    <a:pt x="276" y="95"/>
                  </a:cubicBezTo>
                  <a:cubicBezTo>
                    <a:pt x="276" y="89"/>
                    <a:pt x="273" y="82"/>
                    <a:pt x="269" y="78"/>
                  </a:cubicBezTo>
                  <a:cubicBezTo>
                    <a:pt x="260" y="69"/>
                    <a:pt x="243" y="69"/>
                    <a:pt x="234" y="78"/>
                  </a:cubicBezTo>
                  <a:cubicBezTo>
                    <a:pt x="230" y="82"/>
                    <a:pt x="227" y="89"/>
                    <a:pt x="227" y="95"/>
                  </a:cubicBezTo>
                  <a:cubicBezTo>
                    <a:pt x="227" y="99"/>
                    <a:pt x="228" y="103"/>
                    <a:pt x="230" y="106"/>
                  </a:cubicBezTo>
                  <a:cubicBezTo>
                    <a:pt x="230" y="106"/>
                    <a:pt x="230" y="106"/>
                    <a:pt x="217" y="118"/>
                  </a:cubicBezTo>
                  <a:cubicBezTo>
                    <a:pt x="217" y="118"/>
                    <a:pt x="217" y="118"/>
                    <a:pt x="102" y="3"/>
                  </a:cubicBezTo>
                  <a:cubicBezTo>
                    <a:pt x="100" y="1"/>
                    <a:pt x="98" y="0"/>
                    <a:pt x="96" y="1"/>
                  </a:cubicBezTo>
                  <a:cubicBezTo>
                    <a:pt x="93" y="1"/>
                    <a:pt x="91" y="2"/>
                    <a:pt x="90" y="4"/>
                  </a:cubicBezTo>
                  <a:cubicBezTo>
                    <a:pt x="42" y="74"/>
                    <a:pt x="49" y="167"/>
                    <a:pt x="106" y="229"/>
                  </a:cubicBezTo>
                  <a:cubicBezTo>
                    <a:pt x="106" y="229"/>
                    <a:pt x="106" y="229"/>
                    <a:pt x="18" y="317"/>
                  </a:cubicBezTo>
                  <a:cubicBezTo>
                    <a:pt x="18" y="317"/>
                    <a:pt x="18" y="317"/>
                    <a:pt x="8" y="317"/>
                  </a:cubicBezTo>
                  <a:cubicBezTo>
                    <a:pt x="3" y="317"/>
                    <a:pt x="0" y="321"/>
                    <a:pt x="0" y="325"/>
                  </a:cubicBezTo>
                  <a:cubicBezTo>
                    <a:pt x="0" y="329"/>
                    <a:pt x="3" y="333"/>
                    <a:pt x="8" y="333"/>
                  </a:cubicBezTo>
                  <a:close/>
                  <a:moveTo>
                    <a:pt x="245" y="89"/>
                  </a:moveTo>
                  <a:cubicBezTo>
                    <a:pt x="247" y="87"/>
                    <a:pt x="249" y="86"/>
                    <a:pt x="252" y="86"/>
                  </a:cubicBezTo>
                  <a:cubicBezTo>
                    <a:pt x="254" y="86"/>
                    <a:pt x="256" y="87"/>
                    <a:pt x="258" y="89"/>
                  </a:cubicBezTo>
                  <a:cubicBezTo>
                    <a:pt x="259" y="91"/>
                    <a:pt x="260" y="93"/>
                    <a:pt x="260" y="95"/>
                  </a:cubicBezTo>
                  <a:cubicBezTo>
                    <a:pt x="260" y="97"/>
                    <a:pt x="259" y="100"/>
                    <a:pt x="258" y="101"/>
                  </a:cubicBezTo>
                  <a:cubicBezTo>
                    <a:pt x="254" y="104"/>
                    <a:pt x="249" y="104"/>
                    <a:pt x="245" y="101"/>
                  </a:cubicBezTo>
                  <a:cubicBezTo>
                    <a:pt x="244" y="100"/>
                    <a:pt x="243" y="97"/>
                    <a:pt x="243" y="95"/>
                  </a:cubicBezTo>
                  <a:cubicBezTo>
                    <a:pt x="243" y="93"/>
                    <a:pt x="244" y="91"/>
                    <a:pt x="245" y="89"/>
                  </a:cubicBezTo>
                  <a:close/>
                  <a:moveTo>
                    <a:pt x="98" y="21"/>
                  </a:moveTo>
                  <a:cubicBezTo>
                    <a:pt x="326" y="249"/>
                    <a:pt x="326" y="249"/>
                    <a:pt x="326" y="249"/>
                  </a:cubicBezTo>
                  <a:cubicBezTo>
                    <a:pt x="261" y="288"/>
                    <a:pt x="177" y="278"/>
                    <a:pt x="123" y="224"/>
                  </a:cubicBezTo>
                  <a:cubicBezTo>
                    <a:pt x="69" y="170"/>
                    <a:pt x="59" y="86"/>
                    <a:pt x="98" y="21"/>
                  </a:cubicBezTo>
                  <a:close/>
                  <a:moveTo>
                    <a:pt x="108" y="250"/>
                  </a:moveTo>
                  <a:cubicBezTo>
                    <a:pt x="108" y="250"/>
                    <a:pt x="108" y="250"/>
                    <a:pt x="109" y="317"/>
                  </a:cubicBezTo>
                  <a:cubicBezTo>
                    <a:pt x="109" y="317"/>
                    <a:pt x="109" y="317"/>
                    <a:pt x="41" y="317"/>
                  </a:cubicBezTo>
                  <a:lnTo>
                    <a:pt x="108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8">
              <a:extLst>
                <a:ext uri="{FF2B5EF4-FFF2-40B4-BE49-F238E27FC236}">
                  <a16:creationId xmlns:a16="http://schemas.microsoft.com/office/drawing/2014/main" id="{D980CD22-BB87-FC41-AE18-8CAA30D9D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1038" y="2335213"/>
              <a:ext cx="252413" cy="252413"/>
            </a:xfrm>
            <a:custGeom>
              <a:avLst/>
              <a:gdLst>
                <a:gd name="T0" fmla="*/ 100 w 110"/>
                <a:gd name="T1" fmla="*/ 110 h 110"/>
                <a:gd name="T2" fmla="*/ 101 w 110"/>
                <a:gd name="T3" fmla="*/ 110 h 110"/>
                <a:gd name="T4" fmla="*/ 109 w 110"/>
                <a:gd name="T5" fmla="*/ 103 h 110"/>
                <a:gd name="T6" fmla="*/ 109 w 110"/>
                <a:gd name="T7" fmla="*/ 84 h 110"/>
                <a:gd name="T8" fmla="*/ 83 w 110"/>
                <a:gd name="T9" fmla="*/ 29 h 110"/>
                <a:gd name="T10" fmla="*/ 27 w 110"/>
                <a:gd name="T11" fmla="*/ 1 h 110"/>
                <a:gd name="T12" fmla="*/ 7 w 110"/>
                <a:gd name="T13" fmla="*/ 1 h 110"/>
                <a:gd name="T14" fmla="*/ 0 w 110"/>
                <a:gd name="T15" fmla="*/ 9 h 110"/>
                <a:gd name="T16" fmla="*/ 9 w 110"/>
                <a:gd name="T17" fmla="*/ 16 h 110"/>
                <a:gd name="T18" fmla="*/ 25 w 110"/>
                <a:gd name="T19" fmla="*/ 16 h 110"/>
                <a:gd name="T20" fmla="*/ 71 w 110"/>
                <a:gd name="T21" fmla="*/ 40 h 110"/>
                <a:gd name="T22" fmla="*/ 93 w 110"/>
                <a:gd name="T23" fmla="*/ 85 h 110"/>
                <a:gd name="T24" fmla="*/ 93 w 110"/>
                <a:gd name="T25" fmla="*/ 101 h 110"/>
                <a:gd name="T26" fmla="*/ 100 w 110"/>
                <a:gd name="T2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110">
                  <a:moveTo>
                    <a:pt x="100" y="110"/>
                  </a:moveTo>
                  <a:cubicBezTo>
                    <a:pt x="101" y="110"/>
                    <a:pt x="101" y="110"/>
                    <a:pt x="101" y="110"/>
                  </a:cubicBezTo>
                  <a:cubicBezTo>
                    <a:pt x="105" y="110"/>
                    <a:pt x="108" y="107"/>
                    <a:pt x="109" y="103"/>
                  </a:cubicBezTo>
                  <a:cubicBezTo>
                    <a:pt x="110" y="96"/>
                    <a:pt x="110" y="90"/>
                    <a:pt x="109" y="84"/>
                  </a:cubicBezTo>
                  <a:cubicBezTo>
                    <a:pt x="107" y="64"/>
                    <a:pt x="97" y="45"/>
                    <a:pt x="83" y="29"/>
                  </a:cubicBezTo>
                  <a:cubicBezTo>
                    <a:pt x="68" y="13"/>
                    <a:pt x="48" y="3"/>
                    <a:pt x="27" y="1"/>
                  </a:cubicBezTo>
                  <a:cubicBezTo>
                    <a:pt x="21" y="0"/>
                    <a:pt x="14" y="0"/>
                    <a:pt x="7" y="1"/>
                  </a:cubicBezTo>
                  <a:cubicBezTo>
                    <a:pt x="3" y="1"/>
                    <a:pt x="0" y="5"/>
                    <a:pt x="0" y="9"/>
                  </a:cubicBezTo>
                  <a:cubicBezTo>
                    <a:pt x="1" y="14"/>
                    <a:pt x="5" y="17"/>
                    <a:pt x="9" y="16"/>
                  </a:cubicBezTo>
                  <a:cubicBezTo>
                    <a:pt x="14" y="16"/>
                    <a:pt x="20" y="16"/>
                    <a:pt x="25" y="16"/>
                  </a:cubicBezTo>
                  <a:cubicBezTo>
                    <a:pt x="42" y="18"/>
                    <a:pt x="59" y="27"/>
                    <a:pt x="71" y="40"/>
                  </a:cubicBezTo>
                  <a:cubicBezTo>
                    <a:pt x="84" y="53"/>
                    <a:pt x="91" y="69"/>
                    <a:pt x="93" y="85"/>
                  </a:cubicBezTo>
                  <a:cubicBezTo>
                    <a:pt x="94" y="91"/>
                    <a:pt x="94" y="96"/>
                    <a:pt x="93" y="101"/>
                  </a:cubicBezTo>
                  <a:cubicBezTo>
                    <a:pt x="93" y="105"/>
                    <a:pt x="96" y="109"/>
                    <a:pt x="100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13">
              <a:extLst>
                <a:ext uri="{FF2B5EF4-FFF2-40B4-BE49-F238E27FC236}">
                  <a16:creationId xmlns:a16="http://schemas.microsoft.com/office/drawing/2014/main" id="{74ED0001-20ED-1B4B-87E6-6DF6C5A50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338" y="2430463"/>
              <a:ext cx="169863" cy="166688"/>
            </a:xfrm>
            <a:custGeom>
              <a:avLst/>
              <a:gdLst>
                <a:gd name="T0" fmla="*/ 64 w 74"/>
                <a:gd name="T1" fmla="*/ 73 h 73"/>
                <a:gd name="T2" fmla="*/ 65 w 74"/>
                <a:gd name="T3" fmla="*/ 73 h 73"/>
                <a:gd name="T4" fmla="*/ 73 w 74"/>
                <a:gd name="T5" fmla="*/ 67 h 73"/>
                <a:gd name="T6" fmla="*/ 73 w 74"/>
                <a:gd name="T7" fmla="*/ 49 h 73"/>
                <a:gd name="T8" fmla="*/ 57 w 74"/>
                <a:gd name="T9" fmla="*/ 18 h 73"/>
                <a:gd name="T10" fmla="*/ 25 w 74"/>
                <a:gd name="T11" fmla="*/ 1 h 73"/>
                <a:gd name="T12" fmla="*/ 7 w 74"/>
                <a:gd name="T13" fmla="*/ 1 h 73"/>
                <a:gd name="T14" fmla="*/ 0 w 74"/>
                <a:gd name="T15" fmla="*/ 10 h 73"/>
                <a:gd name="T16" fmla="*/ 9 w 74"/>
                <a:gd name="T17" fmla="*/ 16 h 73"/>
                <a:gd name="T18" fmla="*/ 23 w 74"/>
                <a:gd name="T19" fmla="*/ 16 h 73"/>
                <a:gd name="T20" fmla="*/ 46 w 74"/>
                <a:gd name="T21" fmla="*/ 29 h 73"/>
                <a:gd name="T22" fmla="*/ 57 w 74"/>
                <a:gd name="T23" fmla="*/ 52 h 73"/>
                <a:gd name="T24" fmla="*/ 57 w 74"/>
                <a:gd name="T25" fmla="*/ 64 h 73"/>
                <a:gd name="T26" fmla="*/ 64 w 74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3">
                  <a:moveTo>
                    <a:pt x="64" y="73"/>
                  </a:moveTo>
                  <a:cubicBezTo>
                    <a:pt x="65" y="73"/>
                    <a:pt x="65" y="73"/>
                    <a:pt x="65" y="73"/>
                  </a:cubicBezTo>
                  <a:cubicBezTo>
                    <a:pt x="69" y="73"/>
                    <a:pt x="72" y="71"/>
                    <a:pt x="73" y="67"/>
                  </a:cubicBezTo>
                  <a:cubicBezTo>
                    <a:pt x="74" y="61"/>
                    <a:pt x="74" y="55"/>
                    <a:pt x="73" y="49"/>
                  </a:cubicBezTo>
                  <a:cubicBezTo>
                    <a:pt x="71" y="37"/>
                    <a:pt x="66" y="26"/>
                    <a:pt x="57" y="18"/>
                  </a:cubicBezTo>
                  <a:cubicBezTo>
                    <a:pt x="49" y="9"/>
                    <a:pt x="37" y="3"/>
                    <a:pt x="25" y="1"/>
                  </a:cubicBezTo>
                  <a:cubicBezTo>
                    <a:pt x="19" y="0"/>
                    <a:pt x="13" y="0"/>
                    <a:pt x="7" y="1"/>
                  </a:cubicBezTo>
                  <a:cubicBezTo>
                    <a:pt x="2" y="1"/>
                    <a:pt x="0" y="5"/>
                    <a:pt x="0" y="10"/>
                  </a:cubicBezTo>
                  <a:cubicBezTo>
                    <a:pt x="1" y="14"/>
                    <a:pt x="5" y="17"/>
                    <a:pt x="9" y="16"/>
                  </a:cubicBezTo>
                  <a:cubicBezTo>
                    <a:pt x="14" y="15"/>
                    <a:pt x="18" y="15"/>
                    <a:pt x="23" y="16"/>
                  </a:cubicBezTo>
                  <a:cubicBezTo>
                    <a:pt x="31" y="18"/>
                    <a:pt x="39" y="22"/>
                    <a:pt x="46" y="29"/>
                  </a:cubicBezTo>
                  <a:cubicBezTo>
                    <a:pt x="52" y="35"/>
                    <a:pt x="56" y="43"/>
                    <a:pt x="57" y="52"/>
                  </a:cubicBezTo>
                  <a:cubicBezTo>
                    <a:pt x="58" y="56"/>
                    <a:pt x="58" y="60"/>
                    <a:pt x="57" y="64"/>
                  </a:cubicBezTo>
                  <a:cubicBezTo>
                    <a:pt x="57" y="69"/>
                    <a:pt x="60" y="73"/>
                    <a:pt x="64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18">
              <a:extLst>
                <a:ext uri="{FF2B5EF4-FFF2-40B4-BE49-F238E27FC236}">
                  <a16:creationId xmlns:a16="http://schemas.microsoft.com/office/drawing/2014/main" id="{8F787412-43B3-EE42-AD49-07A31AB60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1513" y="2244726"/>
              <a:ext cx="354013" cy="350838"/>
            </a:xfrm>
            <a:custGeom>
              <a:avLst/>
              <a:gdLst>
                <a:gd name="T0" fmla="*/ 48 w 154"/>
                <a:gd name="T1" fmla="*/ 2 h 153"/>
                <a:gd name="T2" fmla="*/ 8 w 154"/>
                <a:gd name="T3" fmla="*/ 2 h 153"/>
                <a:gd name="T4" fmla="*/ 1 w 154"/>
                <a:gd name="T5" fmla="*/ 11 h 153"/>
                <a:gd name="T6" fmla="*/ 10 w 154"/>
                <a:gd name="T7" fmla="*/ 18 h 153"/>
                <a:gd name="T8" fmla="*/ 45 w 154"/>
                <a:gd name="T9" fmla="*/ 18 h 153"/>
                <a:gd name="T10" fmla="*/ 136 w 154"/>
                <a:gd name="T11" fmla="*/ 110 h 153"/>
                <a:gd name="T12" fmla="*/ 136 w 154"/>
                <a:gd name="T13" fmla="*/ 144 h 153"/>
                <a:gd name="T14" fmla="*/ 142 w 154"/>
                <a:gd name="T15" fmla="*/ 153 h 153"/>
                <a:gd name="T16" fmla="*/ 144 w 154"/>
                <a:gd name="T17" fmla="*/ 153 h 153"/>
                <a:gd name="T18" fmla="*/ 151 w 154"/>
                <a:gd name="T19" fmla="*/ 146 h 153"/>
                <a:gd name="T20" fmla="*/ 151 w 154"/>
                <a:gd name="T21" fmla="*/ 108 h 153"/>
                <a:gd name="T22" fmla="*/ 48 w 154"/>
                <a:gd name="T23" fmla="*/ 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4" h="153">
                  <a:moveTo>
                    <a:pt x="48" y="2"/>
                  </a:moveTo>
                  <a:cubicBezTo>
                    <a:pt x="35" y="0"/>
                    <a:pt x="21" y="0"/>
                    <a:pt x="8" y="2"/>
                  </a:cubicBezTo>
                  <a:cubicBezTo>
                    <a:pt x="3" y="3"/>
                    <a:pt x="0" y="7"/>
                    <a:pt x="1" y="11"/>
                  </a:cubicBezTo>
                  <a:cubicBezTo>
                    <a:pt x="2" y="16"/>
                    <a:pt x="6" y="18"/>
                    <a:pt x="10" y="18"/>
                  </a:cubicBezTo>
                  <a:cubicBezTo>
                    <a:pt x="22" y="16"/>
                    <a:pt x="34" y="16"/>
                    <a:pt x="45" y="18"/>
                  </a:cubicBezTo>
                  <a:cubicBezTo>
                    <a:pt x="91" y="25"/>
                    <a:pt x="128" y="63"/>
                    <a:pt x="136" y="110"/>
                  </a:cubicBezTo>
                  <a:cubicBezTo>
                    <a:pt x="138" y="122"/>
                    <a:pt x="138" y="133"/>
                    <a:pt x="136" y="144"/>
                  </a:cubicBezTo>
                  <a:cubicBezTo>
                    <a:pt x="135" y="148"/>
                    <a:pt x="138" y="152"/>
                    <a:pt x="142" y="153"/>
                  </a:cubicBezTo>
                  <a:cubicBezTo>
                    <a:pt x="143" y="153"/>
                    <a:pt x="143" y="153"/>
                    <a:pt x="144" y="153"/>
                  </a:cubicBezTo>
                  <a:cubicBezTo>
                    <a:pt x="147" y="153"/>
                    <a:pt x="151" y="150"/>
                    <a:pt x="151" y="146"/>
                  </a:cubicBezTo>
                  <a:cubicBezTo>
                    <a:pt x="154" y="134"/>
                    <a:pt x="154" y="121"/>
                    <a:pt x="151" y="108"/>
                  </a:cubicBezTo>
                  <a:cubicBezTo>
                    <a:pt x="143" y="54"/>
                    <a:pt x="100" y="11"/>
                    <a:pt x="4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Grupp 113">
            <a:extLst>
              <a:ext uri="{FF2B5EF4-FFF2-40B4-BE49-F238E27FC236}">
                <a16:creationId xmlns:a16="http://schemas.microsoft.com/office/drawing/2014/main" id="{50900DCC-FA18-E242-9115-C054EE7EADF6}"/>
              </a:ext>
            </a:extLst>
          </p:cNvPr>
          <p:cNvGrpSpPr/>
          <p:nvPr/>
        </p:nvGrpSpPr>
        <p:grpSpPr>
          <a:xfrm>
            <a:off x="5130299" y="3170233"/>
            <a:ext cx="2313107" cy="2476631"/>
            <a:chOff x="7294376" y="3028312"/>
            <a:chExt cx="1378266" cy="1475702"/>
          </a:xfrm>
        </p:grpSpPr>
        <p:sp>
          <p:nvSpPr>
            <p:cNvPr id="115" name="Circle">
              <a:extLst>
                <a:ext uri="{FF2B5EF4-FFF2-40B4-BE49-F238E27FC236}">
                  <a16:creationId xmlns:a16="http://schemas.microsoft.com/office/drawing/2014/main" id="{258A24E5-DFD5-694B-BEF9-0585E315295B}"/>
                </a:ext>
              </a:extLst>
            </p:cNvPr>
            <p:cNvSpPr/>
            <p:nvPr/>
          </p:nvSpPr>
          <p:spPr>
            <a:xfrm>
              <a:off x="7432331" y="3324259"/>
              <a:ext cx="1010678" cy="1010678"/>
            </a:xfrm>
            <a:prstGeom prst="ellipse">
              <a:avLst/>
            </a:prstGeom>
            <a:ln w="28575">
              <a:solidFill>
                <a:schemeClr val="tx2"/>
              </a:solidFill>
              <a:miter/>
            </a:ln>
          </p:spPr>
          <p:txBody>
            <a:bodyPr tIns="45720" bIns="4572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000000"/>
                  </a:solidFill>
                  <a:latin typeface="Verdana"/>
                  <a:ea typeface="Verdana"/>
                  <a:cs typeface="Verdana"/>
                  <a:sym typeface="Verdana"/>
                </a:defRPr>
              </a:pPr>
              <a:endParaRPr kumimoji="0" sz="3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116" name="Ellips 115">
              <a:extLst>
                <a:ext uri="{FF2B5EF4-FFF2-40B4-BE49-F238E27FC236}">
                  <a16:creationId xmlns:a16="http://schemas.microsoft.com/office/drawing/2014/main" id="{D295460F-D184-F24E-AB9B-9F0DCBC924E5}"/>
                </a:ext>
              </a:extLst>
            </p:cNvPr>
            <p:cNvSpPr/>
            <p:nvPr/>
          </p:nvSpPr>
          <p:spPr>
            <a:xfrm>
              <a:off x="7701979" y="3028312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sp>
          <p:nvSpPr>
            <p:cNvPr id="117" name="Ellips 116">
              <a:extLst>
                <a:ext uri="{FF2B5EF4-FFF2-40B4-BE49-F238E27FC236}">
                  <a16:creationId xmlns:a16="http://schemas.microsoft.com/office/drawing/2014/main" id="{1192AAE5-D0E9-AE4B-9240-DB29ADA7EE5F}"/>
                </a:ext>
              </a:extLst>
            </p:cNvPr>
            <p:cNvSpPr/>
            <p:nvPr/>
          </p:nvSpPr>
          <p:spPr>
            <a:xfrm>
              <a:off x="7731959" y="4047643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sp>
          <p:nvSpPr>
            <p:cNvPr id="118" name="Ellips 117">
              <a:extLst>
                <a:ext uri="{FF2B5EF4-FFF2-40B4-BE49-F238E27FC236}">
                  <a16:creationId xmlns:a16="http://schemas.microsoft.com/office/drawing/2014/main" id="{45EB5F81-C729-BF4B-9B61-CC514F417D0E}"/>
                </a:ext>
              </a:extLst>
            </p:cNvPr>
            <p:cNvSpPr/>
            <p:nvPr/>
          </p:nvSpPr>
          <p:spPr>
            <a:xfrm>
              <a:off x="7294376" y="3576908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sp>
          <p:nvSpPr>
            <p:cNvPr id="119" name="Ellips 118">
              <a:extLst>
                <a:ext uri="{FF2B5EF4-FFF2-40B4-BE49-F238E27FC236}">
                  <a16:creationId xmlns:a16="http://schemas.microsoft.com/office/drawing/2014/main" id="{D62E22C0-47DB-1C46-AD35-50F2D63C382F}"/>
                </a:ext>
              </a:extLst>
            </p:cNvPr>
            <p:cNvSpPr/>
            <p:nvPr/>
          </p:nvSpPr>
          <p:spPr>
            <a:xfrm>
              <a:off x="8216271" y="3576908"/>
              <a:ext cx="456371" cy="4563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  </a:t>
              </a:r>
            </a:p>
          </p:txBody>
        </p:sp>
        <p:grpSp>
          <p:nvGrpSpPr>
            <p:cNvPr id="120" name="Grupp 119">
              <a:extLst>
                <a:ext uri="{FF2B5EF4-FFF2-40B4-BE49-F238E27FC236}">
                  <a16:creationId xmlns:a16="http://schemas.microsoft.com/office/drawing/2014/main" id="{B6D94CDA-E5F6-1E4C-92C3-4AB0F856F3EB}"/>
                </a:ext>
              </a:extLst>
            </p:cNvPr>
            <p:cNvGrpSpPr/>
            <p:nvPr/>
          </p:nvGrpSpPr>
          <p:grpSpPr>
            <a:xfrm>
              <a:off x="7810009" y="4146471"/>
              <a:ext cx="315500" cy="291795"/>
              <a:chOff x="9631363" y="5491163"/>
              <a:chExt cx="887413" cy="820738"/>
            </a:xfrm>
          </p:grpSpPr>
          <p:sp>
            <p:nvSpPr>
              <p:cNvPr id="184" name="Freeform 66">
                <a:extLst>
                  <a:ext uri="{FF2B5EF4-FFF2-40B4-BE49-F238E27FC236}">
                    <a16:creationId xmlns:a16="http://schemas.microsoft.com/office/drawing/2014/main" id="{BE26ED3C-CC7F-C347-B998-330B746F58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31363" y="5491163"/>
                <a:ext cx="887413" cy="700088"/>
              </a:xfrm>
              <a:custGeom>
                <a:avLst/>
                <a:gdLst>
                  <a:gd name="T0" fmla="*/ 340 w 386"/>
                  <a:gd name="T1" fmla="*/ 144 h 305"/>
                  <a:gd name="T2" fmla="*/ 305 w 386"/>
                  <a:gd name="T3" fmla="*/ 125 h 305"/>
                  <a:gd name="T4" fmla="*/ 255 w 386"/>
                  <a:gd name="T5" fmla="*/ 126 h 305"/>
                  <a:gd name="T6" fmla="*/ 255 w 386"/>
                  <a:gd name="T7" fmla="*/ 24 h 305"/>
                  <a:gd name="T8" fmla="*/ 231 w 386"/>
                  <a:gd name="T9" fmla="*/ 0 h 305"/>
                  <a:gd name="T10" fmla="*/ 23 w 386"/>
                  <a:gd name="T11" fmla="*/ 0 h 305"/>
                  <a:gd name="T12" fmla="*/ 0 w 386"/>
                  <a:gd name="T13" fmla="*/ 24 h 305"/>
                  <a:gd name="T14" fmla="*/ 0 w 386"/>
                  <a:gd name="T15" fmla="*/ 188 h 305"/>
                  <a:gd name="T16" fmla="*/ 0 w 386"/>
                  <a:gd name="T17" fmla="*/ 189 h 305"/>
                  <a:gd name="T18" fmla="*/ 0 w 386"/>
                  <a:gd name="T19" fmla="*/ 190 h 305"/>
                  <a:gd name="T20" fmla="*/ 0 w 386"/>
                  <a:gd name="T21" fmla="*/ 281 h 305"/>
                  <a:gd name="T22" fmla="*/ 23 w 386"/>
                  <a:gd name="T23" fmla="*/ 305 h 305"/>
                  <a:gd name="T24" fmla="*/ 33 w 386"/>
                  <a:gd name="T25" fmla="*/ 305 h 305"/>
                  <a:gd name="T26" fmla="*/ 40 w 386"/>
                  <a:gd name="T27" fmla="*/ 299 h 305"/>
                  <a:gd name="T28" fmla="*/ 94 w 386"/>
                  <a:gd name="T29" fmla="*/ 259 h 305"/>
                  <a:gd name="T30" fmla="*/ 147 w 386"/>
                  <a:gd name="T31" fmla="*/ 299 h 305"/>
                  <a:gd name="T32" fmla="*/ 155 w 386"/>
                  <a:gd name="T33" fmla="*/ 305 h 305"/>
                  <a:gd name="T34" fmla="*/ 231 w 386"/>
                  <a:gd name="T35" fmla="*/ 305 h 305"/>
                  <a:gd name="T36" fmla="*/ 238 w 386"/>
                  <a:gd name="T37" fmla="*/ 299 h 305"/>
                  <a:gd name="T38" fmla="*/ 292 w 386"/>
                  <a:gd name="T39" fmla="*/ 259 h 305"/>
                  <a:gd name="T40" fmla="*/ 345 w 386"/>
                  <a:gd name="T41" fmla="*/ 299 h 305"/>
                  <a:gd name="T42" fmla="*/ 353 w 386"/>
                  <a:gd name="T43" fmla="*/ 305 h 305"/>
                  <a:gd name="T44" fmla="*/ 362 w 386"/>
                  <a:gd name="T45" fmla="*/ 305 h 305"/>
                  <a:gd name="T46" fmla="*/ 386 w 386"/>
                  <a:gd name="T47" fmla="*/ 281 h 305"/>
                  <a:gd name="T48" fmla="*/ 386 w 386"/>
                  <a:gd name="T49" fmla="*/ 234 h 305"/>
                  <a:gd name="T50" fmla="*/ 370 w 386"/>
                  <a:gd name="T51" fmla="*/ 186 h 305"/>
                  <a:gd name="T52" fmla="*/ 340 w 386"/>
                  <a:gd name="T53" fmla="*/ 144 h 305"/>
                  <a:gd name="T54" fmla="*/ 15 w 386"/>
                  <a:gd name="T55" fmla="*/ 24 h 305"/>
                  <a:gd name="T56" fmla="*/ 23 w 386"/>
                  <a:gd name="T57" fmla="*/ 16 h 305"/>
                  <a:gd name="T58" fmla="*/ 231 w 386"/>
                  <a:gd name="T59" fmla="*/ 16 h 305"/>
                  <a:gd name="T60" fmla="*/ 239 w 386"/>
                  <a:gd name="T61" fmla="*/ 24 h 305"/>
                  <a:gd name="T62" fmla="*/ 239 w 386"/>
                  <a:gd name="T63" fmla="*/ 188 h 305"/>
                  <a:gd name="T64" fmla="*/ 231 w 386"/>
                  <a:gd name="T65" fmla="*/ 196 h 305"/>
                  <a:gd name="T66" fmla="*/ 23 w 386"/>
                  <a:gd name="T67" fmla="*/ 196 h 305"/>
                  <a:gd name="T68" fmla="*/ 15 w 386"/>
                  <a:gd name="T69" fmla="*/ 188 h 305"/>
                  <a:gd name="T70" fmla="*/ 15 w 386"/>
                  <a:gd name="T71" fmla="*/ 24 h 305"/>
                  <a:gd name="T72" fmla="*/ 370 w 386"/>
                  <a:gd name="T73" fmla="*/ 281 h 305"/>
                  <a:gd name="T74" fmla="*/ 362 w 386"/>
                  <a:gd name="T75" fmla="*/ 289 h 305"/>
                  <a:gd name="T76" fmla="*/ 358 w 386"/>
                  <a:gd name="T77" fmla="*/ 289 h 305"/>
                  <a:gd name="T78" fmla="*/ 292 w 386"/>
                  <a:gd name="T79" fmla="*/ 243 h 305"/>
                  <a:gd name="T80" fmla="*/ 225 w 386"/>
                  <a:gd name="T81" fmla="*/ 289 h 305"/>
                  <a:gd name="T82" fmla="*/ 160 w 386"/>
                  <a:gd name="T83" fmla="*/ 289 h 305"/>
                  <a:gd name="T84" fmla="*/ 94 w 386"/>
                  <a:gd name="T85" fmla="*/ 243 h 305"/>
                  <a:gd name="T86" fmla="*/ 27 w 386"/>
                  <a:gd name="T87" fmla="*/ 289 h 305"/>
                  <a:gd name="T88" fmla="*/ 23 w 386"/>
                  <a:gd name="T89" fmla="*/ 289 h 305"/>
                  <a:gd name="T90" fmla="*/ 15 w 386"/>
                  <a:gd name="T91" fmla="*/ 281 h 305"/>
                  <a:gd name="T92" fmla="*/ 15 w 386"/>
                  <a:gd name="T93" fmla="*/ 212 h 305"/>
                  <a:gd name="T94" fmla="*/ 23 w 386"/>
                  <a:gd name="T95" fmla="*/ 213 h 305"/>
                  <a:gd name="T96" fmla="*/ 231 w 386"/>
                  <a:gd name="T97" fmla="*/ 213 h 305"/>
                  <a:gd name="T98" fmla="*/ 255 w 386"/>
                  <a:gd name="T99" fmla="*/ 190 h 305"/>
                  <a:gd name="T100" fmla="*/ 255 w 386"/>
                  <a:gd name="T101" fmla="*/ 142 h 305"/>
                  <a:gd name="T102" fmla="*/ 305 w 386"/>
                  <a:gd name="T103" fmla="*/ 141 h 305"/>
                  <a:gd name="T104" fmla="*/ 328 w 386"/>
                  <a:gd name="T105" fmla="*/ 154 h 305"/>
                  <a:gd name="T106" fmla="*/ 357 w 386"/>
                  <a:gd name="T107" fmla="*/ 195 h 305"/>
                  <a:gd name="T108" fmla="*/ 370 w 386"/>
                  <a:gd name="T109" fmla="*/ 234 h 305"/>
                  <a:gd name="T110" fmla="*/ 370 w 386"/>
                  <a:gd name="T111" fmla="*/ 281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86" h="305">
                    <a:moveTo>
                      <a:pt x="340" y="144"/>
                    </a:moveTo>
                    <a:cubicBezTo>
                      <a:pt x="334" y="136"/>
                      <a:pt x="317" y="125"/>
                      <a:pt x="305" y="125"/>
                    </a:cubicBezTo>
                    <a:cubicBezTo>
                      <a:pt x="305" y="125"/>
                      <a:pt x="305" y="125"/>
                      <a:pt x="255" y="126"/>
                    </a:cubicBezTo>
                    <a:cubicBezTo>
                      <a:pt x="255" y="126"/>
                      <a:pt x="255" y="126"/>
                      <a:pt x="255" y="24"/>
                    </a:cubicBezTo>
                    <a:cubicBezTo>
                      <a:pt x="255" y="11"/>
                      <a:pt x="244" y="0"/>
                      <a:pt x="231" y="0"/>
                    </a:cubicBezTo>
                    <a:cubicBezTo>
                      <a:pt x="231" y="0"/>
                      <a:pt x="231" y="0"/>
                      <a:pt x="23" y="0"/>
                    </a:cubicBezTo>
                    <a:cubicBezTo>
                      <a:pt x="10" y="0"/>
                      <a:pt x="0" y="11"/>
                      <a:pt x="0" y="24"/>
                    </a:cubicBezTo>
                    <a:cubicBezTo>
                      <a:pt x="0" y="24"/>
                      <a:pt x="0" y="24"/>
                      <a:pt x="0" y="188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0" y="189"/>
                      <a:pt x="0" y="189"/>
                      <a:pt x="0" y="190"/>
                    </a:cubicBezTo>
                    <a:cubicBezTo>
                      <a:pt x="0" y="190"/>
                      <a:pt x="0" y="190"/>
                      <a:pt x="0" y="281"/>
                    </a:cubicBezTo>
                    <a:cubicBezTo>
                      <a:pt x="0" y="294"/>
                      <a:pt x="10" y="305"/>
                      <a:pt x="23" y="305"/>
                    </a:cubicBezTo>
                    <a:cubicBezTo>
                      <a:pt x="23" y="305"/>
                      <a:pt x="23" y="305"/>
                      <a:pt x="33" y="305"/>
                    </a:cubicBezTo>
                    <a:cubicBezTo>
                      <a:pt x="36" y="305"/>
                      <a:pt x="39" y="302"/>
                      <a:pt x="40" y="299"/>
                    </a:cubicBezTo>
                    <a:cubicBezTo>
                      <a:pt x="47" y="275"/>
                      <a:pt x="69" y="259"/>
                      <a:pt x="94" y="259"/>
                    </a:cubicBezTo>
                    <a:cubicBezTo>
                      <a:pt x="118" y="259"/>
                      <a:pt x="140" y="275"/>
                      <a:pt x="147" y="299"/>
                    </a:cubicBezTo>
                    <a:cubicBezTo>
                      <a:pt x="148" y="302"/>
                      <a:pt x="151" y="305"/>
                      <a:pt x="155" y="305"/>
                    </a:cubicBezTo>
                    <a:cubicBezTo>
                      <a:pt x="155" y="305"/>
                      <a:pt x="155" y="305"/>
                      <a:pt x="231" y="305"/>
                    </a:cubicBezTo>
                    <a:cubicBezTo>
                      <a:pt x="234" y="305"/>
                      <a:pt x="237" y="302"/>
                      <a:pt x="238" y="299"/>
                    </a:cubicBezTo>
                    <a:cubicBezTo>
                      <a:pt x="245" y="275"/>
                      <a:pt x="267" y="259"/>
                      <a:pt x="292" y="259"/>
                    </a:cubicBezTo>
                    <a:cubicBezTo>
                      <a:pt x="316" y="259"/>
                      <a:pt x="338" y="275"/>
                      <a:pt x="345" y="299"/>
                    </a:cubicBezTo>
                    <a:cubicBezTo>
                      <a:pt x="346" y="302"/>
                      <a:pt x="349" y="305"/>
                      <a:pt x="353" y="305"/>
                    </a:cubicBezTo>
                    <a:cubicBezTo>
                      <a:pt x="353" y="305"/>
                      <a:pt x="353" y="305"/>
                      <a:pt x="362" y="305"/>
                    </a:cubicBezTo>
                    <a:cubicBezTo>
                      <a:pt x="375" y="305"/>
                      <a:pt x="386" y="294"/>
                      <a:pt x="386" y="281"/>
                    </a:cubicBezTo>
                    <a:cubicBezTo>
                      <a:pt x="386" y="281"/>
                      <a:pt x="386" y="281"/>
                      <a:pt x="386" y="234"/>
                    </a:cubicBezTo>
                    <a:cubicBezTo>
                      <a:pt x="386" y="217"/>
                      <a:pt x="380" y="200"/>
                      <a:pt x="370" y="186"/>
                    </a:cubicBezTo>
                    <a:cubicBezTo>
                      <a:pt x="370" y="186"/>
                      <a:pt x="370" y="186"/>
                      <a:pt x="340" y="144"/>
                    </a:cubicBezTo>
                    <a:close/>
                    <a:moveTo>
                      <a:pt x="15" y="24"/>
                    </a:moveTo>
                    <a:cubicBezTo>
                      <a:pt x="15" y="19"/>
                      <a:pt x="19" y="16"/>
                      <a:pt x="23" y="16"/>
                    </a:cubicBezTo>
                    <a:cubicBezTo>
                      <a:pt x="231" y="16"/>
                      <a:pt x="231" y="16"/>
                      <a:pt x="231" y="16"/>
                    </a:cubicBezTo>
                    <a:cubicBezTo>
                      <a:pt x="235" y="16"/>
                      <a:pt x="239" y="19"/>
                      <a:pt x="239" y="24"/>
                    </a:cubicBezTo>
                    <a:cubicBezTo>
                      <a:pt x="239" y="24"/>
                      <a:pt x="239" y="24"/>
                      <a:pt x="239" y="188"/>
                    </a:cubicBezTo>
                    <a:cubicBezTo>
                      <a:pt x="239" y="192"/>
                      <a:pt x="235" y="196"/>
                      <a:pt x="231" y="196"/>
                    </a:cubicBezTo>
                    <a:cubicBezTo>
                      <a:pt x="231" y="196"/>
                      <a:pt x="231" y="196"/>
                      <a:pt x="23" y="196"/>
                    </a:cubicBezTo>
                    <a:cubicBezTo>
                      <a:pt x="19" y="196"/>
                      <a:pt x="15" y="192"/>
                      <a:pt x="15" y="188"/>
                    </a:cubicBezTo>
                    <a:cubicBezTo>
                      <a:pt x="15" y="188"/>
                      <a:pt x="15" y="188"/>
                      <a:pt x="15" y="24"/>
                    </a:cubicBezTo>
                    <a:close/>
                    <a:moveTo>
                      <a:pt x="370" y="281"/>
                    </a:moveTo>
                    <a:cubicBezTo>
                      <a:pt x="370" y="285"/>
                      <a:pt x="366" y="289"/>
                      <a:pt x="362" y="289"/>
                    </a:cubicBezTo>
                    <a:cubicBezTo>
                      <a:pt x="362" y="289"/>
                      <a:pt x="362" y="289"/>
                      <a:pt x="358" y="289"/>
                    </a:cubicBezTo>
                    <a:cubicBezTo>
                      <a:pt x="348" y="261"/>
                      <a:pt x="321" y="243"/>
                      <a:pt x="292" y="243"/>
                    </a:cubicBezTo>
                    <a:cubicBezTo>
                      <a:pt x="262" y="243"/>
                      <a:pt x="235" y="261"/>
                      <a:pt x="225" y="289"/>
                    </a:cubicBezTo>
                    <a:cubicBezTo>
                      <a:pt x="225" y="289"/>
                      <a:pt x="225" y="289"/>
                      <a:pt x="160" y="289"/>
                    </a:cubicBezTo>
                    <a:cubicBezTo>
                      <a:pt x="150" y="261"/>
                      <a:pt x="123" y="243"/>
                      <a:pt x="94" y="243"/>
                    </a:cubicBezTo>
                    <a:cubicBezTo>
                      <a:pt x="64" y="243"/>
                      <a:pt x="37" y="261"/>
                      <a:pt x="27" y="289"/>
                    </a:cubicBezTo>
                    <a:cubicBezTo>
                      <a:pt x="27" y="289"/>
                      <a:pt x="27" y="289"/>
                      <a:pt x="23" y="289"/>
                    </a:cubicBezTo>
                    <a:cubicBezTo>
                      <a:pt x="19" y="289"/>
                      <a:pt x="15" y="285"/>
                      <a:pt x="15" y="281"/>
                    </a:cubicBezTo>
                    <a:cubicBezTo>
                      <a:pt x="15" y="281"/>
                      <a:pt x="15" y="281"/>
                      <a:pt x="15" y="212"/>
                    </a:cubicBezTo>
                    <a:cubicBezTo>
                      <a:pt x="18" y="213"/>
                      <a:pt x="21" y="213"/>
                      <a:pt x="23" y="213"/>
                    </a:cubicBezTo>
                    <a:cubicBezTo>
                      <a:pt x="23" y="213"/>
                      <a:pt x="23" y="213"/>
                      <a:pt x="231" y="213"/>
                    </a:cubicBezTo>
                    <a:cubicBezTo>
                      <a:pt x="244" y="213"/>
                      <a:pt x="255" y="203"/>
                      <a:pt x="255" y="190"/>
                    </a:cubicBezTo>
                    <a:cubicBezTo>
                      <a:pt x="255" y="190"/>
                      <a:pt x="255" y="190"/>
                      <a:pt x="255" y="142"/>
                    </a:cubicBezTo>
                    <a:cubicBezTo>
                      <a:pt x="255" y="142"/>
                      <a:pt x="255" y="142"/>
                      <a:pt x="305" y="141"/>
                    </a:cubicBezTo>
                    <a:cubicBezTo>
                      <a:pt x="311" y="141"/>
                      <a:pt x="324" y="148"/>
                      <a:pt x="328" y="154"/>
                    </a:cubicBezTo>
                    <a:cubicBezTo>
                      <a:pt x="328" y="154"/>
                      <a:pt x="328" y="154"/>
                      <a:pt x="357" y="195"/>
                    </a:cubicBezTo>
                    <a:cubicBezTo>
                      <a:pt x="365" y="206"/>
                      <a:pt x="370" y="220"/>
                      <a:pt x="370" y="234"/>
                    </a:cubicBezTo>
                    <a:cubicBezTo>
                      <a:pt x="370" y="234"/>
                      <a:pt x="370" y="234"/>
                      <a:pt x="370" y="281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Freeform 69">
                <a:extLst>
                  <a:ext uri="{FF2B5EF4-FFF2-40B4-BE49-F238E27FC236}">
                    <a16:creationId xmlns:a16="http://schemas.microsoft.com/office/drawing/2014/main" id="{F81F7D36-1A55-E34C-81F3-DDB6CF366E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07625" y="6126163"/>
                <a:ext cx="187325" cy="185738"/>
              </a:xfrm>
              <a:custGeom>
                <a:avLst/>
                <a:gdLst>
                  <a:gd name="T0" fmla="*/ 41 w 81"/>
                  <a:gd name="T1" fmla="*/ 0 h 81"/>
                  <a:gd name="T2" fmla="*/ 0 w 81"/>
                  <a:gd name="T3" fmla="*/ 40 h 81"/>
                  <a:gd name="T4" fmla="*/ 41 w 81"/>
                  <a:gd name="T5" fmla="*/ 81 h 81"/>
                  <a:gd name="T6" fmla="*/ 81 w 81"/>
                  <a:gd name="T7" fmla="*/ 40 h 81"/>
                  <a:gd name="T8" fmla="*/ 41 w 81"/>
                  <a:gd name="T9" fmla="*/ 0 h 81"/>
                  <a:gd name="T10" fmla="*/ 41 w 81"/>
                  <a:gd name="T11" fmla="*/ 65 h 81"/>
                  <a:gd name="T12" fmla="*/ 16 w 81"/>
                  <a:gd name="T13" fmla="*/ 40 h 81"/>
                  <a:gd name="T14" fmla="*/ 41 w 81"/>
                  <a:gd name="T15" fmla="*/ 15 h 81"/>
                  <a:gd name="T16" fmla="*/ 66 w 81"/>
                  <a:gd name="T17" fmla="*/ 40 h 81"/>
                  <a:gd name="T18" fmla="*/ 41 w 81"/>
                  <a:gd name="T19" fmla="*/ 6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1">
                    <a:moveTo>
                      <a:pt x="41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3"/>
                      <a:pt x="18" y="81"/>
                      <a:pt x="41" y="81"/>
                    </a:cubicBezTo>
                    <a:cubicBezTo>
                      <a:pt x="63" y="81"/>
                      <a:pt x="81" y="63"/>
                      <a:pt x="81" y="40"/>
                    </a:cubicBezTo>
                    <a:cubicBezTo>
                      <a:pt x="81" y="18"/>
                      <a:pt x="63" y="0"/>
                      <a:pt x="41" y="0"/>
                    </a:cubicBezTo>
                    <a:close/>
                    <a:moveTo>
                      <a:pt x="41" y="65"/>
                    </a:moveTo>
                    <a:cubicBezTo>
                      <a:pt x="27" y="65"/>
                      <a:pt x="16" y="54"/>
                      <a:pt x="16" y="40"/>
                    </a:cubicBezTo>
                    <a:cubicBezTo>
                      <a:pt x="16" y="27"/>
                      <a:pt x="27" y="15"/>
                      <a:pt x="41" y="15"/>
                    </a:cubicBezTo>
                    <a:cubicBezTo>
                      <a:pt x="54" y="15"/>
                      <a:pt x="66" y="27"/>
                      <a:pt x="66" y="40"/>
                    </a:cubicBezTo>
                    <a:cubicBezTo>
                      <a:pt x="66" y="54"/>
                      <a:pt x="54" y="65"/>
                      <a:pt x="41" y="6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Freeform 70">
                <a:extLst>
                  <a:ext uri="{FF2B5EF4-FFF2-40B4-BE49-F238E27FC236}">
                    <a16:creationId xmlns:a16="http://schemas.microsoft.com/office/drawing/2014/main" id="{ECE3117F-034C-4C4F-AD2C-834AA19310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753600" y="6126163"/>
                <a:ext cx="185738" cy="185738"/>
              </a:xfrm>
              <a:custGeom>
                <a:avLst/>
                <a:gdLst>
                  <a:gd name="T0" fmla="*/ 41 w 81"/>
                  <a:gd name="T1" fmla="*/ 0 h 81"/>
                  <a:gd name="T2" fmla="*/ 0 w 81"/>
                  <a:gd name="T3" fmla="*/ 40 h 81"/>
                  <a:gd name="T4" fmla="*/ 41 w 81"/>
                  <a:gd name="T5" fmla="*/ 81 h 81"/>
                  <a:gd name="T6" fmla="*/ 81 w 81"/>
                  <a:gd name="T7" fmla="*/ 40 h 81"/>
                  <a:gd name="T8" fmla="*/ 41 w 81"/>
                  <a:gd name="T9" fmla="*/ 0 h 81"/>
                  <a:gd name="T10" fmla="*/ 41 w 81"/>
                  <a:gd name="T11" fmla="*/ 65 h 81"/>
                  <a:gd name="T12" fmla="*/ 16 w 81"/>
                  <a:gd name="T13" fmla="*/ 40 h 81"/>
                  <a:gd name="T14" fmla="*/ 41 w 81"/>
                  <a:gd name="T15" fmla="*/ 15 h 81"/>
                  <a:gd name="T16" fmla="*/ 65 w 81"/>
                  <a:gd name="T17" fmla="*/ 40 h 81"/>
                  <a:gd name="T18" fmla="*/ 41 w 81"/>
                  <a:gd name="T19" fmla="*/ 6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1">
                    <a:moveTo>
                      <a:pt x="41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3"/>
                      <a:pt x="18" y="81"/>
                      <a:pt x="41" y="81"/>
                    </a:cubicBezTo>
                    <a:cubicBezTo>
                      <a:pt x="63" y="81"/>
                      <a:pt x="81" y="63"/>
                      <a:pt x="81" y="40"/>
                    </a:cubicBezTo>
                    <a:cubicBezTo>
                      <a:pt x="81" y="18"/>
                      <a:pt x="63" y="0"/>
                      <a:pt x="41" y="0"/>
                    </a:cubicBezTo>
                    <a:close/>
                    <a:moveTo>
                      <a:pt x="41" y="65"/>
                    </a:moveTo>
                    <a:cubicBezTo>
                      <a:pt x="27" y="65"/>
                      <a:pt x="16" y="54"/>
                      <a:pt x="16" y="40"/>
                    </a:cubicBezTo>
                    <a:cubicBezTo>
                      <a:pt x="16" y="27"/>
                      <a:pt x="27" y="15"/>
                      <a:pt x="41" y="15"/>
                    </a:cubicBezTo>
                    <a:cubicBezTo>
                      <a:pt x="54" y="15"/>
                      <a:pt x="65" y="27"/>
                      <a:pt x="65" y="40"/>
                    </a:cubicBezTo>
                    <a:cubicBezTo>
                      <a:pt x="65" y="54"/>
                      <a:pt x="54" y="65"/>
                      <a:pt x="41" y="6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1" name="Grupp 120">
              <a:extLst>
                <a:ext uri="{FF2B5EF4-FFF2-40B4-BE49-F238E27FC236}">
                  <a16:creationId xmlns:a16="http://schemas.microsoft.com/office/drawing/2014/main" id="{2DEE1B1E-C0CD-C44C-A2D2-CF20B5C8BF53}"/>
                </a:ext>
              </a:extLst>
            </p:cNvPr>
            <p:cNvGrpSpPr/>
            <p:nvPr/>
          </p:nvGrpSpPr>
          <p:grpSpPr>
            <a:xfrm>
              <a:off x="7319981" y="3648206"/>
              <a:ext cx="298630" cy="291139"/>
              <a:chOff x="1643063" y="5450070"/>
              <a:chExt cx="885825" cy="863604"/>
            </a:xfrm>
          </p:grpSpPr>
          <p:sp>
            <p:nvSpPr>
              <p:cNvPr id="181" name="Freeform 78">
                <a:extLst>
                  <a:ext uri="{FF2B5EF4-FFF2-40B4-BE49-F238E27FC236}">
                    <a16:creationId xmlns:a16="http://schemas.microsoft.com/office/drawing/2014/main" id="{87B11438-A3FF-2E49-8075-B2E7AD4F11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43063" y="5524685"/>
                <a:ext cx="679450" cy="788989"/>
              </a:xfrm>
              <a:custGeom>
                <a:avLst/>
                <a:gdLst>
                  <a:gd name="T0" fmla="*/ 201 w 286"/>
                  <a:gd name="T1" fmla="*/ 190 h 332"/>
                  <a:gd name="T2" fmla="*/ 200 w 286"/>
                  <a:gd name="T3" fmla="*/ 190 h 332"/>
                  <a:gd name="T4" fmla="*/ 174 w 286"/>
                  <a:gd name="T5" fmla="*/ 163 h 332"/>
                  <a:gd name="T6" fmla="*/ 174 w 286"/>
                  <a:gd name="T7" fmla="*/ 111 h 332"/>
                  <a:gd name="T8" fmla="*/ 174 w 286"/>
                  <a:gd name="T9" fmla="*/ 8 h 332"/>
                  <a:gd name="T10" fmla="*/ 172 w 286"/>
                  <a:gd name="T11" fmla="*/ 2 h 332"/>
                  <a:gd name="T12" fmla="*/ 166 w 286"/>
                  <a:gd name="T13" fmla="*/ 0 h 332"/>
                  <a:gd name="T14" fmla="*/ 0 w 286"/>
                  <a:gd name="T15" fmla="*/ 166 h 332"/>
                  <a:gd name="T16" fmla="*/ 6 w 286"/>
                  <a:gd name="T17" fmla="*/ 209 h 332"/>
                  <a:gd name="T18" fmla="*/ 23 w 286"/>
                  <a:gd name="T19" fmla="*/ 250 h 332"/>
                  <a:gd name="T20" fmla="*/ 24 w 286"/>
                  <a:gd name="T21" fmla="*/ 252 h 332"/>
                  <a:gd name="T22" fmla="*/ 49 w 286"/>
                  <a:gd name="T23" fmla="*/ 283 h 332"/>
                  <a:gd name="T24" fmla="*/ 49 w 286"/>
                  <a:gd name="T25" fmla="*/ 284 h 332"/>
                  <a:gd name="T26" fmla="*/ 50 w 286"/>
                  <a:gd name="T27" fmla="*/ 285 h 332"/>
                  <a:gd name="T28" fmla="*/ 82 w 286"/>
                  <a:gd name="T29" fmla="*/ 309 h 332"/>
                  <a:gd name="T30" fmla="*/ 84 w 286"/>
                  <a:gd name="T31" fmla="*/ 310 h 332"/>
                  <a:gd name="T32" fmla="*/ 125 w 286"/>
                  <a:gd name="T33" fmla="*/ 327 h 332"/>
                  <a:gd name="T34" fmla="*/ 126 w 286"/>
                  <a:gd name="T35" fmla="*/ 327 h 332"/>
                  <a:gd name="T36" fmla="*/ 166 w 286"/>
                  <a:gd name="T37" fmla="*/ 332 h 332"/>
                  <a:gd name="T38" fmla="*/ 283 w 286"/>
                  <a:gd name="T39" fmla="*/ 284 h 332"/>
                  <a:gd name="T40" fmla="*/ 286 w 286"/>
                  <a:gd name="T41" fmla="*/ 279 h 332"/>
                  <a:gd name="T42" fmla="*/ 283 w 286"/>
                  <a:gd name="T43" fmla="*/ 273 h 332"/>
                  <a:gd name="T44" fmla="*/ 201 w 286"/>
                  <a:gd name="T45" fmla="*/ 190 h 332"/>
                  <a:gd name="T46" fmla="*/ 134 w 286"/>
                  <a:gd name="T47" fmla="*/ 19 h 332"/>
                  <a:gd name="T48" fmla="*/ 19 w 286"/>
                  <a:gd name="T49" fmla="*/ 134 h 332"/>
                  <a:gd name="T50" fmla="*/ 134 w 286"/>
                  <a:gd name="T51" fmla="*/ 19 h 332"/>
                  <a:gd name="T52" fmla="*/ 16 w 286"/>
                  <a:gd name="T53" fmla="*/ 166 h 332"/>
                  <a:gd name="T54" fmla="*/ 16 w 286"/>
                  <a:gd name="T55" fmla="*/ 159 h 332"/>
                  <a:gd name="T56" fmla="*/ 159 w 286"/>
                  <a:gd name="T57" fmla="*/ 16 h 332"/>
                  <a:gd name="T58" fmla="*/ 159 w 286"/>
                  <a:gd name="T59" fmla="*/ 51 h 332"/>
                  <a:gd name="T60" fmla="*/ 18 w 286"/>
                  <a:gd name="T61" fmla="*/ 192 h 332"/>
                  <a:gd name="T62" fmla="*/ 16 w 286"/>
                  <a:gd name="T63" fmla="*/ 166 h 332"/>
                  <a:gd name="T64" fmla="*/ 22 w 286"/>
                  <a:gd name="T65" fmla="*/ 209 h 332"/>
                  <a:gd name="T66" fmla="*/ 159 w 286"/>
                  <a:gd name="T67" fmla="*/ 72 h 332"/>
                  <a:gd name="T68" fmla="*/ 159 w 286"/>
                  <a:gd name="T69" fmla="*/ 108 h 332"/>
                  <a:gd name="T70" fmla="*/ 32 w 286"/>
                  <a:gd name="T71" fmla="*/ 234 h 332"/>
                  <a:gd name="T72" fmla="*/ 22 w 286"/>
                  <a:gd name="T73" fmla="*/ 209 h 332"/>
                  <a:gd name="T74" fmla="*/ 40 w 286"/>
                  <a:gd name="T75" fmla="*/ 248 h 332"/>
                  <a:gd name="T76" fmla="*/ 159 w 286"/>
                  <a:gd name="T77" fmla="*/ 129 h 332"/>
                  <a:gd name="T78" fmla="*/ 159 w 286"/>
                  <a:gd name="T79" fmla="*/ 164 h 332"/>
                  <a:gd name="T80" fmla="*/ 55 w 286"/>
                  <a:gd name="T81" fmla="*/ 268 h 332"/>
                  <a:gd name="T82" fmla="*/ 40 w 286"/>
                  <a:gd name="T83" fmla="*/ 248 h 332"/>
                  <a:gd name="T84" fmla="*/ 66 w 286"/>
                  <a:gd name="T85" fmla="*/ 279 h 332"/>
                  <a:gd name="T86" fmla="*/ 167 w 286"/>
                  <a:gd name="T87" fmla="*/ 178 h 332"/>
                  <a:gd name="T88" fmla="*/ 184 w 286"/>
                  <a:gd name="T89" fmla="*/ 195 h 332"/>
                  <a:gd name="T90" fmla="*/ 86 w 286"/>
                  <a:gd name="T91" fmla="*/ 294 h 332"/>
                  <a:gd name="T92" fmla="*/ 66 w 286"/>
                  <a:gd name="T93" fmla="*/ 279 h 332"/>
                  <a:gd name="T94" fmla="*/ 125 w 286"/>
                  <a:gd name="T95" fmla="*/ 311 h 332"/>
                  <a:gd name="T96" fmla="*/ 100 w 286"/>
                  <a:gd name="T97" fmla="*/ 301 h 332"/>
                  <a:gd name="T98" fmla="*/ 195 w 286"/>
                  <a:gd name="T99" fmla="*/ 206 h 332"/>
                  <a:gd name="T100" fmla="*/ 213 w 286"/>
                  <a:gd name="T101" fmla="*/ 224 h 332"/>
                  <a:gd name="T102" fmla="*/ 125 w 286"/>
                  <a:gd name="T103" fmla="*/ 311 h 332"/>
                  <a:gd name="T104" fmla="*/ 143 w 286"/>
                  <a:gd name="T105" fmla="*/ 315 h 332"/>
                  <a:gd name="T106" fmla="*/ 223 w 286"/>
                  <a:gd name="T107" fmla="*/ 234 h 332"/>
                  <a:gd name="T108" fmla="*/ 241 w 286"/>
                  <a:gd name="T109" fmla="*/ 252 h 332"/>
                  <a:gd name="T110" fmla="*/ 176 w 286"/>
                  <a:gd name="T111" fmla="*/ 317 h 332"/>
                  <a:gd name="T112" fmla="*/ 143 w 286"/>
                  <a:gd name="T113" fmla="*/ 315 h 332"/>
                  <a:gd name="T114" fmla="*/ 201 w 286"/>
                  <a:gd name="T115" fmla="*/ 313 h 332"/>
                  <a:gd name="T116" fmla="*/ 252 w 286"/>
                  <a:gd name="T117" fmla="*/ 263 h 332"/>
                  <a:gd name="T118" fmla="*/ 267 w 286"/>
                  <a:gd name="T119" fmla="*/ 278 h 332"/>
                  <a:gd name="T120" fmla="*/ 201 w 286"/>
                  <a:gd name="T121" fmla="*/ 313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6" h="332">
                    <a:moveTo>
                      <a:pt x="201" y="190"/>
                    </a:moveTo>
                    <a:cubicBezTo>
                      <a:pt x="201" y="190"/>
                      <a:pt x="201" y="190"/>
                      <a:pt x="200" y="190"/>
                    </a:cubicBezTo>
                    <a:cubicBezTo>
                      <a:pt x="200" y="190"/>
                      <a:pt x="200" y="190"/>
                      <a:pt x="174" y="163"/>
                    </a:cubicBezTo>
                    <a:cubicBezTo>
                      <a:pt x="174" y="163"/>
                      <a:pt x="174" y="163"/>
                      <a:pt x="174" y="111"/>
                    </a:cubicBezTo>
                    <a:cubicBezTo>
                      <a:pt x="174" y="111"/>
                      <a:pt x="174" y="111"/>
                      <a:pt x="174" y="8"/>
                    </a:cubicBezTo>
                    <a:cubicBezTo>
                      <a:pt x="174" y="6"/>
                      <a:pt x="173" y="4"/>
                      <a:pt x="172" y="2"/>
                    </a:cubicBezTo>
                    <a:cubicBezTo>
                      <a:pt x="170" y="1"/>
                      <a:pt x="168" y="0"/>
                      <a:pt x="166" y="0"/>
                    </a:cubicBezTo>
                    <a:cubicBezTo>
                      <a:pt x="75" y="0"/>
                      <a:pt x="0" y="75"/>
                      <a:pt x="0" y="166"/>
                    </a:cubicBezTo>
                    <a:cubicBezTo>
                      <a:pt x="0" y="181"/>
                      <a:pt x="2" y="195"/>
                      <a:pt x="6" y="209"/>
                    </a:cubicBezTo>
                    <a:cubicBezTo>
                      <a:pt x="10" y="224"/>
                      <a:pt x="16" y="237"/>
                      <a:pt x="23" y="250"/>
                    </a:cubicBezTo>
                    <a:cubicBezTo>
                      <a:pt x="23" y="251"/>
                      <a:pt x="24" y="251"/>
                      <a:pt x="24" y="252"/>
                    </a:cubicBezTo>
                    <a:cubicBezTo>
                      <a:pt x="31" y="263"/>
                      <a:pt x="39" y="274"/>
                      <a:pt x="49" y="283"/>
                    </a:cubicBezTo>
                    <a:cubicBezTo>
                      <a:pt x="49" y="284"/>
                      <a:pt x="49" y="284"/>
                      <a:pt x="49" y="284"/>
                    </a:cubicBezTo>
                    <a:cubicBezTo>
                      <a:pt x="50" y="284"/>
                      <a:pt x="50" y="285"/>
                      <a:pt x="50" y="285"/>
                    </a:cubicBezTo>
                    <a:cubicBezTo>
                      <a:pt x="60" y="294"/>
                      <a:pt x="71" y="303"/>
                      <a:pt x="82" y="309"/>
                    </a:cubicBezTo>
                    <a:cubicBezTo>
                      <a:pt x="83" y="310"/>
                      <a:pt x="83" y="310"/>
                      <a:pt x="84" y="310"/>
                    </a:cubicBezTo>
                    <a:cubicBezTo>
                      <a:pt x="97" y="318"/>
                      <a:pt x="110" y="323"/>
                      <a:pt x="125" y="327"/>
                    </a:cubicBezTo>
                    <a:cubicBezTo>
                      <a:pt x="125" y="327"/>
                      <a:pt x="125" y="327"/>
                      <a:pt x="126" y="327"/>
                    </a:cubicBezTo>
                    <a:cubicBezTo>
                      <a:pt x="139" y="331"/>
                      <a:pt x="152" y="332"/>
                      <a:pt x="166" y="332"/>
                    </a:cubicBezTo>
                    <a:cubicBezTo>
                      <a:pt x="211" y="332"/>
                      <a:pt x="252" y="315"/>
                      <a:pt x="283" y="284"/>
                    </a:cubicBezTo>
                    <a:cubicBezTo>
                      <a:pt x="285" y="283"/>
                      <a:pt x="286" y="281"/>
                      <a:pt x="286" y="279"/>
                    </a:cubicBezTo>
                    <a:cubicBezTo>
                      <a:pt x="286" y="277"/>
                      <a:pt x="285" y="275"/>
                      <a:pt x="283" y="273"/>
                    </a:cubicBezTo>
                    <a:cubicBezTo>
                      <a:pt x="283" y="273"/>
                      <a:pt x="283" y="273"/>
                      <a:pt x="201" y="190"/>
                    </a:cubicBezTo>
                    <a:close/>
                    <a:moveTo>
                      <a:pt x="134" y="19"/>
                    </a:moveTo>
                    <a:cubicBezTo>
                      <a:pt x="19" y="134"/>
                      <a:pt x="19" y="134"/>
                      <a:pt x="19" y="134"/>
                    </a:cubicBezTo>
                    <a:cubicBezTo>
                      <a:pt x="32" y="77"/>
                      <a:pt x="77" y="31"/>
                      <a:pt x="134" y="19"/>
                    </a:cubicBezTo>
                    <a:close/>
                    <a:moveTo>
                      <a:pt x="16" y="166"/>
                    </a:moveTo>
                    <a:cubicBezTo>
                      <a:pt x="16" y="164"/>
                      <a:pt x="16" y="161"/>
                      <a:pt x="16" y="159"/>
                    </a:cubicBezTo>
                    <a:cubicBezTo>
                      <a:pt x="159" y="16"/>
                      <a:pt x="159" y="16"/>
                      <a:pt x="159" y="16"/>
                    </a:cubicBezTo>
                    <a:cubicBezTo>
                      <a:pt x="159" y="16"/>
                      <a:pt x="159" y="16"/>
                      <a:pt x="159" y="51"/>
                    </a:cubicBezTo>
                    <a:cubicBezTo>
                      <a:pt x="159" y="51"/>
                      <a:pt x="159" y="51"/>
                      <a:pt x="18" y="192"/>
                    </a:cubicBezTo>
                    <a:cubicBezTo>
                      <a:pt x="16" y="184"/>
                      <a:pt x="16" y="175"/>
                      <a:pt x="16" y="166"/>
                    </a:cubicBezTo>
                    <a:close/>
                    <a:moveTo>
                      <a:pt x="22" y="209"/>
                    </a:moveTo>
                    <a:cubicBezTo>
                      <a:pt x="159" y="72"/>
                      <a:pt x="159" y="72"/>
                      <a:pt x="159" y="72"/>
                    </a:cubicBezTo>
                    <a:cubicBezTo>
                      <a:pt x="159" y="72"/>
                      <a:pt x="159" y="72"/>
                      <a:pt x="159" y="108"/>
                    </a:cubicBezTo>
                    <a:cubicBezTo>
                      <a:pt x="159" y="108"/>
                      <a:pt x="159" y="108"/>
                      <a:pt x="32" y="234"/>
                    </a:cubicBezTo>
                    <a:cubicBezTo>
                      <a:pt x="28" y="226"/>
                      <a:pt x="24" y="218"/>
                      <a:pt x="22" y="209"/>
                    </a:cubicBezTo>
                    <a:close/>
                    <a:moveTo>
                      <a:pt x="40" y="248"/>
                    </a:moveTo>
                    <a:cubicBezTo>
                      <a:pt x="159" y="129"/>
                      <a:pt x="159" y="129"/>
                      <a:pt x="159" y="129"/>
                    </a:cubicBezTo>
                    <a:cubicBezTo>
                      <a:pt x="159" y="129"/>
                      <a:pt x="159" y="129"/>
                      <a:pt x="159" y="164"/>
                    </a:cubicBezTo>
                    <a:cubicBezTo>
                      <a:pt x="159" y="164"/>
                      <a:pt x="159" y="164"/>
                      <a:pt x="55" y="268"/>
                    </a:cubicBezTo>
                    <a:cubicBezTo>
                      <a:pt x="49" y="262"/>
                      <a:pt x="44" y="255"/>
                      <a:pt x="40" y="248"/>
                    </a:cubicBezTo>
                    <a:close/>
                    <a:moveTo>
                      <a:pt x="66" y="279"/>
                    </a:moveTo>
                    <a:cubicBezTo>
                      <a:pt x="167" y="178"/>
                      <a:pt x="167" y="178"/>
                      <a:pt x="167" y="178"/>
                    </a:cubicBezTo>
                    <a:cubicBezTo>
                      <a:pt x="167" y="178"/>
                      <a:pt x="167" y="178"/>
                      <a:pt x="184" y="195"/>
                    </a:cubicBezTo>
                    <a:cubicBezTo>
                      <a:pt x="184" y="195"/>
                      <a:pt x="184" y="195"/>
                      <a:pt x="86" y="294"/>
                    </a:cubicBezTo>
                    <a:cubicBezTo>
                      <a:pt x="79" y="289"/>
                      <a:pt x="72" y="284"/>
                      <a:pt x="66" y="279"/>
                    </a:cubicBezTo>
                    <a:close/>
                    <a:moveTo>
                      <a:pt x="125" y="311"/>
                    </a:moveTo>
                    <a:cubicBezTo>
                      <a:pt x="116" y="309"/>
                      <a:pt x="108" y="305"/>
                      <a:pt x="100" y="301"/>
                    </a:cubicBezTo>
                    <a:cubicBezTo>
                      <a:pt x="195" y="206"/>
                      <a:pt x="195" y="206"/>
                      <a:pt x="195" y="206"/>
                    </a:cubicBezTo>
                    <a:cubicBezTo>
                      <a:pt x="195" y="206"/>
                      <a:pt x="195" y="206"/>
                      <a:pt x="213" y="224"/>
                    </a:cubicBezTo>
                    <a:cubicBezTo>
                      <a:pt x="213" y="224"/>
                      <a:pt x="213" y="224"/>
                      <a:pt x="125" y="311"/>
                    </a:cubicBezTo>
                    <a:close/>
                    <a:moveTo>
                      <a:pt x="143" y="315"/>
                    </a:moveTo>
                    <a:cubicBezTo>
                      <a:pt x="223" y="234"/>
                      <a:pt x="223" y="234"/>
                      <a:pt x="223" y="234"/>
                    </a:cubicBezTo>
                    <a:cubicBezTo>
                      <a:pt x="223" y="234"/>
                      <a:pt x="223" y="234"/>
                      <a:pt x="241" y="252"/>
                    </a:cubicBezTo>
                    <a:cubicBezTo>
                      <a:pt x="241" y="252"/>
                      <a:pt x="241" y="252"/>
                      <a:pt x="176" y="317"/>
                    </a:cubicBezTo>
                    <a:cubicBezTo>
                      <a:pt x="165" y="317"/>
                      <a:pt x="153" y="317"/>
                      <a:pt x="143" y="315"/>
                    </a:cubicBezTo>
                    <a:close/>
                    <a:moveTo>
                      <a:pt x="201" y="313"/>
                    </a:moveTo>
                    <a:cubicBezTo>
                      <a:pt x="201" y="313"/>
                      <a:pt x="201" y="313"/>
                      <a:pt x="252" y="263"/>
                    </a:cubicBezTo>
                    <a:cubicBezTo>
                      <a:pt x="267" y="278"/>
                      <a:pt x="267" y="278"/>
                      <a:pt x="267" y="278"/>
                    </a:cubicBezTo>
                    <a:cubicBezTo>
                      <a:pt x="248" y="295"/>
                      <a:pt x="226" y="307"/>
                      <a:pt x="201" y="31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Freeform 79">
                <a:extLst>
                  <a:ext uri="{FF2B5EF4-FFF2-40B4-BE49-F238E27FC236}">
                    <a16:creationId xmlns:a16="http://schemas.microsoft.com/office/drawing/2014/main" id="{F604A5C3-A3FF-0A41-8EC5-66B1C3EF9A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16137" y="5891393"/>
                <a:ext cx="412751" cy="304800"/>
              </a:xfrm>
              <a:custGeom>
                <a:avLst/>
                <a:gdLst>
                  <a:gd name="T0" fmla="*/ 166 w 174"/>
                  <a:gd name="T1" fmla="*/ 0 h 129"/>
                  <a:gd name="T2" fmla="*/ 8 w 174"/>
                  <a:gd name="T3" fmla="*/ 0 h 129"/>
                  <a:gd name="T4" fmla="*/ 2 w 174"/>
                  <a:gd name="T5" fmla="*/ 2 h 129"/>
                  <a:gd name="T6" fmla="*/ 0 w 174"/>
                  <a:gd name="T7" fmla="*/ 8 h 129"/>
                  <a:gd name="T8" fmla="*/ 0 w 174"/>
                  <a:gd name="T9" fmla="*/ 9 h 129"/>
                  <a:gd name="T10" fmla="*/ 2 w 174"/>
                  <a:gd name="T11" fmla="*/ 15 h 129"/>
                  <a:gd name="T12" fmla="*/ 114 w 174"/>
                  <a:gd name="T13" fmla="*/ 127 h 129"/>
                  <a:gd name="T14" fmla="*/ 119 w 174"/>
                  <a:gd name="T15" fmla="*/ 129 h 129"/>
                  <a:gd name="T16" fmla="*/ 125 w 174"/>
                  <a:gd name="T17" fmla="*/ 127 h 129"/>
                  <a:gd name="T18" fmla="*/ 174 w 174"/>
                  <a:gd name="T19" fmla="*/ 9 h 129"/>
                  <a:gd name="T20" fmla="*/ 174 w 174"/>
                  <a:gd name="T21" fmla="*/ 8 h 129"/>
                  <a:gd name="T22" fmla="*/ 166 w 174"/>
                  <a:gd name="T23" fmla="*/ 0 h 129"/>
                  <a:gd name="T24" fmla="*/ 119 w 174"/>
                  <a:gd name="T25" fmla="*/ 111 h 129"/>
                  <a:gd name="T26" fmla="*/ 24 w 174"/>
                  <a:gd name="T27" fmla="*/ 15 h 129"/>
                  <a:gd name="T28" fmla="*/ 158 w 174"/>
                  <a:gd name="T29" fmla="*/ 15 h 129"/>
                  <a:gd name="T30" fmla="*/ 119 w 174"/>
                  <a:gd name="T31" fmla="*/ 111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4" h="129">
                    <a:moveTo>
                      <a:pt x="166" y="0"/>
                    </a:moveTo>
                    <a:cubicBezTo>
                      <a:pt x="166" y="0"/>
                      <a:pt x="166" y="0"/>
                      <a:pt x="8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4"/>
                      <a:pt x="0" y="6"/>
                      <a:pt x="0" y="8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0" y="11"/>
                      <a:pt x="1" y="13"/>
                      <a:pt x="2" y="15"/>
                    </a:cubicBezTo>
                    <a:cubicBezTo>
                      <a:pt x="2" y="15"/>
                      <a:pt x="2" y="15"/>
                      <a:pt x="114" y="127"/>
                    </a:cubicBezTo>
                    <a:cubicBezTo>
                      <a:pt x="115" y="128"/>
                      <a:pt x="117" y="129"/>
                      <a:pt x="119" y="129"/>
                    </a:cubicBezTo>
                    <a:cubicBezTo>
                      <a:pt x="121" y="129"/>
                      <a:pt x="123" y="128"/>
                      <a:pt x="125" y="127"/>
                    </a:cubicBezTo>
                    <a:cubicBezTo>
                      <a:pt x="156" y="96"/>
                      <a:pt x="174" y="54"/>
                      <a:pt x="174" y="9"/>
                    </a:cubicBezTo>
                    <a:cubicBezTo>
                      <a:pt x="174" y="9"/>
                      <a:pt x="174" y="9"/>
                      <a:pt x="174" y="8"/>
                    </a:cubicBezTo>
                    <a:cubicBezTo>
                      <a:pt x="174" y="3"/>
                      <a:pt x="170" y="0"/>
                      <a:pt x="166" y="0"/>
                    </a:cubicBezTo>
                    <a:close/>
                    <a:moveTo>
                      <a:pt x="119" y="111"/>
                    </a:moveTo>
                    <a:cubicBezTo>
                      <a:pt x="119" y="111"/>
                      <a:pt x="119" y="111"/>
                      <a:pt x="24" y="15"/>
                    </a:cubicBezTo>
                    <a:cubicBezTo>
                      <a:pt x="158" y="15"/>
                      <a:pt x="158" y="15"/>
                      <a:pt x="158" y="15"/>
                    </a:cubicBezTo>
                    <a:cubicBezTo>
                      <a:pt x="157" y="51"/>
                      <a:pt x="143" y="84"/>
                      <a:pt x="119" y="11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Freeform 80">
                <a:extLst>
                  <a:ext uri="{FF2B5EF4-FFF2-40B4-BE49-F238E27FC236}">
                    <a16:creationId xmlns:a16="http://schemas.microsoft.com/office/drawing/2014/main" id="{6497631D-4E9A-4947-8387-25C993E870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87563" y="5450070"/>
                <a:ext cx="412751" cy="407990"/>
              </a:xfrm>
              <a:custGeom>
                <a:avLst/>
                <a:gdLst>
                  <a:gd name="T0" fmla="*/ 8 w 174"/>
                  <a:gd name="T1" fmla="*/ 0 h 172"/>
                  <a:gd name="T2" fmla="*/ 0 w 174"/>
                  <a:gd name="T3" fmla="*/ 8 h 172"/>
                  <a:gd name="T4" fmla="*/ 0 w 174"/>
                  <a:gd name="T5" fmla="*/ 164 h 172"/>
                  <a:gd name="T6" fmla="*/ 8 w 174"/>
                  <a:gd name="T7" fmla="*/ 172 h 172"/>
                  <a:gd name="T8" fmla="*/ 166 w 174"/>
                  <a:gd name="T9" fmla="*/ 172 h 172"/>
                  <a:gd name="T10" fmla="*/ 171 w 174"/>
                  <a:gd name="T11" fmla="*/ 170 h 172"/>
                  <a:gd name="T12" fmla="*/ 174 w 174"/>
                  <a:gd name="T13" fmla="*/ 164 h 172"/>
                  <a:gd name="T14" fmla="*/ 8 w 174"/>
                  <a:gd name="T15" fmla="*/ 0 h 172"/>
                  <a:gd name="T16" fmla="*/ 15 w 174"/>
                  <a:gd name="T17" fmla="*/ 157 h 172"/>
                  <a:gd name="T18" fmla="*/ 15 w 174"/>
                  <a:gd name="T19" fmla="*/ 15 h 172"/>
                  <a:gd name="T20" fmla="*/ 158 w 174"/>
                  <a:gd name="T21" fmla="*/ 157 h 172"/>
                  <a:gd name="T22" fmla="*/ 15 w 174"/>
                  <a:gd name="T23" fmla="*/ 157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4" h="172">
                    <a:moveTo>
                      <a:pt x="8" y="0"/>
                    </a:moveTo>
                    <a:cubicBezTo>
                      <a:pt x="3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164"/>
                    </a:cubicBezTo>
                    <a:cubicBezTo>
                      <a:pt x="0" y="169"/>
                      <a:pt x="3" y="172"/>
                      <a:pt x="8" y="172"/>
                    </a:cubicBezTo>
                    <a:cubicBezTo>
                      <a:pt x="8" y="172"/>
                      <a:pt x="8" y="172"/>
                      <a:pt x="166" y="172"/>
                    </a:cubicBezTo>
                    <a:cubicBezTo>
                      <a:pt x="168" y="172"/>
                      <a:pt x="170" y="171"/>
                      <a:pt x="171" y="170"/>
                    </a:cubicBezTo>
                    <a:cubicBezTo>
                      <a:pt x="173" y="168"/>
                      <a:pt x="174" y="166"/>
                      <a:pt x="174" y="164"/>
                    </a:cubicBezTo>
                    <a:cubicBezTo>
                      <a:pt x="173" y="74"/>
                      <a:pt x="98" y="0"/>
                      <a:pt x="8" y="0"/>
                    </a:cubicBezTo>
                    <a:close/>
                    <a:moveTo>
                      <a:pt x="15" y="157"/>
                    </a:moveTo>
                    <a:cubicBezTo>
                      <a:pt x="15" y="15"/>
                      <a:pt x="15" y="15"/>
                      <a:pt x="15" y="15"/>
                    </a:cubicBezTo>
                    <a:cubicBezTo>
                      <a:pt x="92" y="19"/>
                      <a:pt x="154" y="81"/>
                      <a:pt x="158" y="157"/>
                    </a:cubicBezTo>
                    <a:cubicBezTo>
                      <a:pt x="158" y="157"/>
                      <a:pt x="158" y="157"/>
                      <a:pt x="15" y="15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2" name="Grupp 121">
              <a:extLst>
                <a:ext uri="{FF2B5EF4-FFF2-40B4-BE49-F238E27FC236}">
                  <a16:creationId xmlns:a16="http://schemas.microsoft.com/office/drawing/2014/main" id="{201B6522-0832-9A49-8DD9-419FAE095C6F}"/>
                </a:ext>
              </a:extLst>
            </p:cNvPr>
            <p:cNvGrpSpPr/>
            <p:nvPr/>
          </p:nvGrpSpPr>
          <p:grpSpPr>
            <a:xfrm rot="8311399">
              <a:off x="7851360" y="3939894"/>
              <a:ext cx="134346" cy="133751"/>
              <a:chOff x="8243888" y="1241426"/>
              <a:chExt cx="358775" cy="357187"/>
            </a:xfrm>
          </p:grpSpPr>
          <p:sp>
            <p:nvSpPr>
              <p:cNvPr id="178" name="Freeform 15">
                <a:extLst>
                  <a:ext uri="{FF2B5EF4-FFF2-40B4-BE49-F238E27FC236}">
                    <a16:creationId xmlns:a16="http://schemas.microsoft.com/office/drawing/2014/main" id="{03658F96-5FC1-5748-B63F-EA6B16B1A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3888" y="1243013"/>
                <a:ext cx="354013" cy="355600"/>
              </a:xfrm>
              <a:custGeom>
                <a:avLst/>
                <a:gdLst>
                  <a:gd name="T0" fmla="*/ 107 w 154"/>
                  <a:gd name="T1" fmla="*/ 153 h 155"/>
                  <a:gd name="T2" fmla="*/ 127 w 154"/>
                  <a:gd name="T3" fmla="*/ 155 h 155"/>
                  <a:gd name="T4" fmla="*/ 147 w 154"/>
                  <a:gd name="T5" fmla="*/ 153 h 155"/>
                  <a:gd name="T6" fmla="*/ 154 w 154"/>
                  <a:gd name="T7" fmla="*/ 144 h 155"/>
                  <a:gd name="T8" fmla="*/ 145 w 154"/>
                  <a:gd name="T9" fmla="*/ 137 h 155"/>
                  <a:gd name="T10" fmla="*/ 109 w 154"/>
                  <a:gd name="T11" fmla="*/ 137 h 155"/>
                  <a:gd name="T12" fmla="*/ 18 w 154"/>
                  <a:gd name="T13" fmla="*/ 44 h 155"/>
                  <a:gd name="T14" fmla="*/ 18 w 154"/>
                  <a:gd name="T15" fmla="*/ 10 h 155"/>
                  <a:gd name="T16" fmla="*/ 11 w 154"/>
                  <a:gd name="T17" fmla="*/ 1 h 155"/>
                  <a:gd name="T18" fmla="*/ 2 w 154"/>
                  <a:gd name="T19" fmla="*/ 8 h 155"/>
                  <a:gd name="T20" fmla="*/ 2 w 154"/>
                  <a:gd name="T21" fmla="*/ 46 h 155"/>
                  <a:gd name="T22" fmla="*/ 107 w 154"/>
                  <a:gd name="T23" fmla="*/ 153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4" h="155">
                    <a:moveTo>
                      <a:pt x="107" y="153"/>
                    </a:moveTo>
                    <a:cubicBezTo>
                      <a:pt x="113" y="154"/>
                      <a:pt x="120" y="155"/>
                      <a:pt x="127" y="155"/>
                    </a:cubicBezTo>
                    <a:cubicBezTo>
                      <a:pt x="133" y="155"/>
                      <a:pt x="140" y="154"/>
                      <a:pt x="147" y="153"/>
                    </a:cubicBezTo>
                    <a:cubicBezTo>
                      <a:pt x="152" y="152"/>
                      <a:pt x="154" y="148"/>
                      <a:pt x="154" y="144"/>
                    </a:cubicBezTo>
                    <a:cubicBezTo>
                      <a:pt x="153" y="139"/>
                      <a:pt x="149" y="137"/>
                      <a:pt x="145" y="137"/>
                    </a:cubicBezTo>
                    <a:cubicBezTo>
                      <a:pt x="133" y="139"/>
                      <a:pt x="121" y="139"/>
                      <a:pt x="109" y="137"/>
                    </a:cubicBezTo>
                    <a:cubicBezTo>
                      <a:pt x="63" y="130"/>
                      <a:pt x="25" y="91"/>
                      <a:pt x="18" y="44"/>
                    </a:cubicBezTo>
                    <a:cubicBezTo>
                      <a:pt x="16" y="32"/>
                      <a:pt x="16" y="21"/>
                      <a:pt x="18" y="10"/>
                    </a:cubicBezTo>
                    <a:cubicBezTo>
                      <a:pt x="18" y="6"/>
                      <a:pt x="15" y="2"/>
                      <a:pt x="11" y="1"/>
                    </a:cubicBezTo>
                    <a:cubicBezTo>
                      <a:pt x="7" y="0"/>
                      <a:pt x="3" y="3"/>
                      <a:pt x="2" y="8"/>
                    </a:cubicBezTo>
                    <a:cubicBezTo>
                      <a:pt x="0" y="20"/>
                      <a:pt x="0" y="33"/>
                      <a:pt x="2" y="46"/>
                    </a:cubicBezTo>
                    <a:cubicBezTo>
                      <a:pt x="11" y="100"/>
                      <a:pt x="54" y="144"/>
                      <a:pt x="107" y="153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Freeform 21">
                <a:extLst>
                  <a:ext uri="{FF2B5EF4-FFF2-40B4-BE49-F238E27FC236}">
                    <a16:creationId xmlns:a16="http://schemas.microsoft.com/office/drawing/2014/main" id="{28B5E743-63E2-2840-8FED-84CB285C6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9625" y="1241426"/>
                <a:ext cx="173038" cy="169863"/>
              </a:xfrm>
              <a:custGeom>
                <a:avLst/>
                <a:gdLst>
                  <a:gd name="T0" fmla="*/ 74 w 75"/>
                  <a:gd name="T1" fmla="*/ 65 h 74"/>
                  <a:gd name="T2" fmla="*/ 65 w 75"/>
                  <a:gd name="T3" fmla="*/ 58 h 74"/>
                  <a:gd name="T4" fmla="*/ 52 w 75"/>
                  <a:gd name="T5" fmla="*/ 58 h 74"/>
                  <a:gd name="T6" fmla="*/ 28 w 75"/>
                  <a:gd name="T7" fmla="*/ 45 h 74"/>
                  <a:gd name="T8" fmla="*/ 17 w 75"/>
                  <a:gd name="T9" fmla="*/ 22 h 74"/>
                  <a:gd name="T10" fmla="*/ 17 w 75"/>
                  <a:gd name="T11" fmla="*/ 9 h 74"/>
                  <a:gd name="T12" fmla="*/ 10 w 75"/>
                  <a:gd name="T13" fmla="*/ 0 h 74"/>
                  <a:gd name="T14" fmla="*/ 1 w 75"/>
                  <a:gd name="T15" fmla="*/ 7 h 74"/>
                  <a:gd name="T16" fmla="*/ 1 w 75"/>
                  <a:gd name="T17" fmla="*/ 25 h 74"/>
                  <a:gd name="T18" fmla="*/ 17 w 75"/>
                  <a:gd name="T19" fmla="*/ 56 h 74"/>
                  <a:gd name="T20" fmla="*/ 49 w 75"/>
                  <a:gd name="T21" fmla="*/ 74 h 74"/>
                  <a:gd name="T22" fmla="*/ 59 w 75"/>
                  <a:gd name="T23" fmla="*/ 74 h 74"/>
                  <a:gd name="T24" fmla="*/ 68 w 75"/>
                  <a:gd name="T25" fmla="*/ 74 h 74"/>
                  <a:gd name="T26" fmla="*/ 74 w 75"/>
                  <a:gd name="T27" fmla="*/ 6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5" h="74">
                    <a:moveTo>
                      <a:pt x="74" y="65"/>
                    </a:moveTo>
                    <a:cubicBezTo>
                      <a:pt x="74" y="60"/>
                      <a:pt x="70" y="57"/>
                      <a:pt x="65" y="58"/>
                    </a:cubicBezTo>
                    <a:cubicBezTo>
                      <a:pt x="61" y="59"/>
                      <a:pt x="56" y="59"/>
                      <a:pt x="52" y="58"/>
                    </a:cubicBezTo>
                    <a:cubicBezTo>
                      <a:pt x="43" y="57"/>
                      <a:pt x="35" y="52"/>
                      <a:pt x="28" y="45"/>
                    </a:cubicBezTo>
                    <a:cubicBezTo>
                      <a:pt x="22" y="39"/>
                      <a:pt x="18" y="31"/>
                      <a:pt x="17" y="22"/>
                    </a:cubicBezTo>
                    <a:cubicBezTo>
                      <a:pt x="16" y="18"/>
                      <a:pt x="16" y="14"/>
                      <a:pt x="17" y="9"/>
                    </a:cubicBezTo>
                    <a:cubicBezTo>
                      <a:pt x="18" y="5"/>
                      <a:pt x="15" y="1"/>
                      <a:pt x="10" y="0"/>
                    </a:cubicBezTo>
                    <a:cubicBezTo>
                      <a:pt x="6" y="0"/>
                      <a:pt x="2" y="3"/>
                      <a:pt x="1" y="7"/>
                    </a:cubicBezTo>
                    <a:cubicBezTo>
                      <a:pt x="0" y="13"/>
                      <a:pt x="0" y="19"/>
                      <a:pt x="1" y="25"/>
                    </a:cubicBezTo>
                    <a:cubicBezTo>
                      <a:pt x="3" y="36"/>
                      <a:pt x="9" y="48"/>
                      <a:pt x="17" y="56"/>
                    </a:cubicBezTo>
                    <a:cubicBezTo>
                      <a:pt x="26" y="66"/>
                      <a:pt x="37" y="72"/>
                      <a:pt x="49" y="74"/>
                    </a:cubicBezTo>
                    <a:cubicBezTo>
                      <a:pt x="52" y="74"/>
                      <a:pt x="55" y="74"/>
                      <a:pt x="59" y="74"/>
                    </a:cubicBezTo>
                    <a:cubicBezTo>
                      <a:pt x="62" y="74"/>
                      <a:pt x="65" y="74"/>
                      <a:pt x="68" y="74"/>
                    </a:cubicBezTo>
                    <a:cubicBezTo>
                      <a:pt x="72" y="73"/>
                      <a:pt x="75" y="69"/>
                      <a:pt x="74" y="6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Freeform 23">
                <a:extLst>
                  <a:ext uri="{FF2B5EF4-FFF2-40B4-BE49-F238E27FC236}">
                    <a16:creationId xmlns:a16="http://schemas.microsoft.com/office/drawing/2014/main" id="{6ED962D0-E9A2-0B43-96E0-B8B138A06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5963" y="1252538"/>
                <a:ext cx="254000" cy="254000"/>
              </a:xfrm>
              <a:custGeom>
                <a:avLst/>
                <a:gdLst>
                  <a:gd name="T0" fmla="*/ 10 w 111"/>
                  <a:gd name="T1" fmla="*/ 0 h 111"/>
                  <a:gd name="T2" fmla="*/ 1 w 111"/>
                  <a:gd name="T3" fmla="*/ 7 h 111"/>
                  <a:gd name="T4" fmla="*/ 1 w 111"/>
                  <a:gd name="T5" fmla="*/ 26 h 111"/>
                  <a:gd name="T6" fmla="*/ 27 w 111"/>
                  <a:gd name="T7" fmla="*/ 81 h 111"/>
                  <a:gd name="T8" fmla="*/ 83 w 111"/>
                  <a:gd name="T9" fmla="*/ 110 h 111"/>
                  <a:gd name="T10" fmla="*/ 94 w 111"/>
                  <a:gd name="T11" fmla="*/ 111 h 111"/>
                  <a:gd name="T12" fmla="*/ 104 w 111"/>
                  <a:gd name="T13" fmla="*/ 110 h 111"/>
                  <a:gd name="T14" fmla="*/ 111 w 111"/>
                  <a:gd name="T15" fmla="*/ 101 h 111"/>
                  <a:gd name="T16" fmla="*/ 102 w 111"/>
                  <a:gd name="T17" fmla="*/ 94 h 111"/>
                  <a:gd name="T18" fmla="*/ 85 w 111"/>
                  <a:gd name="T19" fmla="*/ 94 h 111"/>
                  <a:gd name="T20" fmla="*/ 39 w 111"/>
                  <a:gd name="T21" fmla="*/ 70 h 111"/>
                  <a:gd name="T22" fmla="*/ 17 w 111"/>
                  <a:gd name="T23" fmla="*/ 25 h 111"/>
                  <a:gd name="T24" fmla="*/ 17 w 111"/>
                  <a:gd name="T25" fmla="*/ 9 h 111"/>
                  <a:gd name="T26" fmla="*/ 10 w 111"/>
                  <a:gd name="T2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1" h="111">
                    <a:moveTo>
                      <a:pt x="10" y="0"/>
                    </a:moveTo>
                    <a:cubicBezTo>
                      <a:pt x="5" y="0"/>
                      <a:pt x="1" y="3"/>
                      <a:pt x="1" y="7"/>
                    </a:cubicBezTo>
                    <a:cubicBezTo>
                      <a:pt x="0" y="13"/>
                      <a:pt x="0" y="20"/>
                      <a:pt x="1" y="26"/>
                    </a:cubicBezTo>
                    <a:cubicBezTo>
                      <a:pt x="3" y="46"/>
                      <a:pt x="13" y="66"/>
                      <a:pt x="27" y="81"/>
                    </a:cubicBezTo>
                    <a:cubicBezTo>
                      <a:pt x="43" y="97"/>
                      <a:pt x="62" y="107"/>
                      <a:pt x="83" y="110"/>
                    </a:cubicBezTo>
                    <a:cubicBezTo>
                      <a:pt x="87" y="110"/>
                      <a:pt x="90" y="111"/>
                      <a:pt x="94" y="111"/>
                    </a:cubicBezTo>
                    <a:cubicBezTo>
                      <a:pt x="97" y="111"/>
                      <a:pt x="100" y="110"/>
                      <a:pt x="104" y="110"/>
                    </a:cubicBezTo>
                    <a:cubicBezTo>
                      <a:pt x="108" y="110"/>
                      <a:pt x="111" y="106"/>
                      <a:pt x="111" y="101"/>
                    </a:cubicBezTo>
                    <a:cubicBezTo>
                      <a:pt x="110" y="97"/>
                      <a:pt x="106" y="94"/>
                      <a:pt x="102" y="94"/>
                    </a:cubicBezTo>
                    <a:cubicBezTo>
                      <a:pt x="96" y="95"/>
                      <a:pt x="91" y="95"/>
                      <a:pt x="85" y="94"/>
                    </a:cubicBezTo>
                    <a:cubicBezTo>
                      <a:pt x="68" y="92"/>
                      <a:pt x="52" y="84"/>
                      <a:pt x="39" y="70"/>
                    </a:cubicBezTo>
                    <a:cubicBezTo>
                      <a:pt x="26" y="57"/>
                      <a:pt x="19" y="41"/>
                      <a:pt x="17" y="25"/>
                    </a:cubicBezTo>
                    <a:cubicBezTo>
                      <a:pt x="16" y="19"/>
                      <a:pt x="16" y="14"/>
                      <a:pt x="17" y="9"/>
                    </a:cubicBezTo>
                    <a:cubicBezTo>
                      <a:pt x="17" y="5"/>
                      <a:pt x="14" y="1"/>
                      <a:pt x="10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3" name="Grupp 122">
              <a:extLst>
                <a:ext uri="{FF2B5EF4-FFF2-40B4-BE49-F238E27FC236}">
                  <a16:creationId xmlns:a16="http://schemas.microsoft.com/office/drawing/2014/main" id="{80569DA1-A923-A443-9EDF-045B994E8165}"/>
                </a:ext>
              </a:extLst>
            </p:cNvPr>
            <p:cNvGrpSpPr/>
            <p:nvPr/>
          </p:nvGrpSpPr>
          <p:grpSpPr>
            <a:xfrm>
              <a:off x="7773180" y="3096289"/>
              <a:ext cx="328960" cy="347338"/>
              <a:chOff x="3186113" y="547688"/>
              <a:chExt cx="852488" cy="900113"/>
            </a:xfrm>
          </p:grpSpPr>
          <p:sp>
            <p:nvSpPr>
              <p:cNvPr id="125" name="Freeform 68">
                <a:extLst>
                  <a:ext uri="{FF2B5EF4-FFF2-40B4-BE49-F238E27FC236}">
                    <a16:creationId xmlns:a16="http://schemas.microsoft.com/office/drawing/2014/main" id="{5E5BDC27-DFE0-194A-9C70-5F3516A88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950913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 69">
                <a:extLst>
                  <a:ext uri="{FF2B5EF4-FFF2-40B4-BE49-F238E27FC236}">
                    <a16:creationId xmlns:a16="http://schemas.microsoft.com/office/drawing/2014/main" id="{73C614D2-A9F4-6846-96C5-8462E5C1B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801688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7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7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7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 70">
                <a:extLst>
                  <a:ext uri="{FF2B5EF4-FFF2-40B4-BE49-F238E27FC236}">
                    <a16:creationId xmlns:a16="http://schemas.microsoft.com/office/drawing/2014/main" id="{03199B5B-B49F-3A4B-B272-3210F7D4A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1101726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 71">
                <a:extLst>
                  <a:ext uri="{FF2B5EF4-FFF2-40B4-BE49-F238E27FC236}">
                    <a16:creationId xmlns:a16="http://schemas.microsoft.com/office/drawing/2014/main" id="{B8384A4C-8608-F44C-A916-F23B5AE9C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1250951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 72">
                <a:extLst>
                  <a:ext uri="{FF2B5EF4-FFF2-40B4-BE49-F238E27FC236}">
                    <a16:creationId xmlns:a16="http://schemas.microsoft.com/office/drawing/2014/main" id="{8E32A38E-DBF7-1E4A-8345-FF31146A5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1101726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7 h 35"/>
                  <a:gd name="T4" fmla="*/ 15 w 15"/>
                  <a:gd name="T5" fmla="*/ 8 h 35"/>
                  <a:gd name="T6" fmla="*/ 8 w 15"/>
                  <a:gd name="T7" fmla="*/ 0 h 35"/>
                  <a:gd name="T8" fmla="*/ 0 w 15"/>
                  <a:gd name="T9" fmla="*/ 8 h 35"/>
                  <a:gd name="T10" fmla="*/ 0 w 15"/>
                  <a:gd name="T11" fmla="*/ 27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2"/>
                      <a:pt x="15" y="27"/>
                    </a:cubicBezTo>
                    <a:cubicBezTo>
                      <a:pt x="15" y="27"/>
                      <a:pt x="15" y="27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 73">
                <a:extLst>
                  <a:ext uri="{FF2B5EF4-FFF2-40B4-BE49-F238E27FC236}">
                    <a16:creationId xmlns:a16="http://schemas.microsoft.com/office/drawing/2014/main" id="{D0F2CB7A-7010-7D4E-AC46-60F69958A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950913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7 h 35"/>
                  <a:gd name="T4" fmla="*/ 15 w 15"/>
                  <a:gd name="T5" fmla="*/ 8 h 35"/>
                  <a:gd name="T6" fmla="*/ 8 w 15"/>
                  <a:gd name="T7" fmla="*/ 0 h 35"/>
                  <a:gd name="T8" fmla="*/ 0 w 15"/>
                  <a:gd name="T9" fmla="*/ 8 h 35"/>
                  <a:gd name="T10" fmla="*/ 0 w 15"/>
                  <a:gd name="T11" fmla="*/ 27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1"/>
                      <a:pt x="15" y="27"/>
                    </a:cubicBezTo>
                    <a:cubicBezTo>
                      <a:pt x="15" y="27"/>
                      <a:pt x="15" y="27"/>
                      <a:pt x="15" y="8"/>
                    </a:cubicBezTo>
                    <a:cubicBezTo>
                      <a:pt x="15" y="3"/>
                      <a:pt x="12" y="0"/>
                      <a:pt x="8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 74">
                <a:extLst>
                  <a:ext uri="{FF2B5EF4-FFF2-40B4-BE49-F238E27FC236}">
                    <a16:creationId xmlns:a16="http://schemas.microsoft.com/office/drawing/2014/main" id="{BDD11AF6-668C-E548-B236-D49F2EB260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675" y="649288"/>
                <a:ext cx="36513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8 h 35"/>
                  <a:gd name="T6" fmla="*/ 8 w 16"/>
                  <a:gd name="T7" fmla="*/ 35 h 35"/>
                  <a:gd name="T8" fmla="*/ 16 w 16"/>
                  <a:gd name="T9" fmla="*/ 28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8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8"/>
                    </a:cubicBezTo>
                    <a:cubicBezTo>
                      <a:pt x="16" y="28"/>
                      <a:pt x="16" y="28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 79">
                <a:extLst>
                  <a:ext uri="{FF2B5EF4-FFF2-40B4-BE49-F238E27FC236}">
                    <a16:creationId xmlns:a16="http://schemas.microsoft.com/office/drawing/2014/main" id="{13533EA6-44B1-824B-B56C-4207BBCD9E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86113" y="547688"/>
                <a:ext cx="852488" cy="900113"/>
              </a:xfrm>
              <a:custGeom>
                <a:avLst/>
                <a:gdLst>
                  <a:gd name="T0" fmla="*/ 7 w 369"/>
                  <a:gd name="T1" fmla="*/ 390 h 390"/>
                  <a:gd name="T2" fmla="*/ 362 w 369"/>
                  <a:gd name="T3" fmla="*/ 390 h 390"/>
                  <a:gd name="T4" fmla="*/ 369 w 369"/>
                  <a:gd name="T5" fmla="*/ 382 h 390"/>
                  <a:gd name="T6" fmla="*/ 362 w 369"/>
                  <a:gd name="T7" fmla="*/ 374 h 390"/>
                  <a:gd name="T8" fmla="*/ 339 w 369"/>
                  <a:gd name="T9" fmla="*/ 374 h 390"/>
                  <a:gd name="T10" fmla="*/ 339 w 369"/>
                  <a:gd name="T11" fmla="*/ 371 h 390"/>
                  <a:gd name="T12" fmla="*/ 339 w 369"/>
                  <a:gd name="T13" fmla="*/ 70 h 390"/>
                  <a:gd name="T14" fmla="*/ 331 w 369"/>
                  <a:gd name="T15" fmla="*/ 63 h 390"/>
                  <a:gd name="T16" fmla="*/ 261 w 369"/>
                  <a:gd name="T17" fmla="*/ 63 h 390"/>
                  <a:gd name="T18" fmla="*/ 261 w 369"/>
                  <a:gd name="T19" fmla="*/ 8 h 390"/>
                  <a:gd name="T20" fmla="*/ 254 w 369"/>
                  <a:gd name="T21" fmla="*/ 0 h 390"/>
                  <a:gd name="T22" fmla="*/ 38 w 369"/>
                  <a:gd name="T23" fmla="*/ 0 h 390"/>
                  <a:gd name="T24" fmla="*/ 30 w 369"/>
                  <a:gd name="T25" fmla="*/ 8 h 390"/>
                  <a:gd name="T26" fmla="*/ 30 w 369"/>
                  <a:gd name="T27" fmla="*/ 374 h 390"/>
                  <a:gd name="T28" fmla="*/ 7 w 369"/>
                  <a:gd name="T29" fmla="*/ 374 h 390"/>
                  <a:gd name="T30" fmla="*/ 0 w 369"/>
                  <a:gd name="T31" fmla="*/ 382 h 390"/>
                  <a:gd name="T32" fmla="*/ 7 w 369"/>
                  <a:gd name="T33" fmla="*/ 390 h 390"/>
                  <a:gd name="T34" fmla="*/ 261 w 369"/>
                  <a:gd name="T35" fmla="*/ 78 h 390"/>
                  <a:gd name="T36" fmla="*/ 324 w 369"/>
                  <a:gd name="T37" fmla="*/ 78 h 390"/>
                  <a:gd name="T38" fmla="*/ 324 w 369"/>
                  <a:gd name="T39" fmla="*/ 371 h 390"/>
                  <a:gd name="T40" fmla="*/ 324 w 369"/>
                  <a:gd name="T41" fmla="*/ 374 h 390"/>
                  <a:gd name="T42" fmla="*/ 261 w 369"/>
                  <a:gd name="T43" fmla="*/ 374 h 390"/>
                  <a:gd name="T44" fmla="*/ 261 w 369"/>
                  <a:gd name="T45" fmla="*/ 78 h 390"/>
                  <a:gd name="T46" fmla="*/ 158 w 369"/>
                  <a:gd name="T47" fmla="*/ 374 h 390"/>
                  <a:gd name="T48" fmla="*/ 133 w 369"/>
                  <a:gd name="T49" fmla="*/ 374 h 390"/>
                  <a:gd name="T50" fmla="*/ 133 w 369"/>
                  <a:gd name="T51" fmla="*/ 317 h 390"/>
                  <a:gd name="T52" fmla="*/ 158 w 369"/>
                  <a:gd name="T53" fmla="*/ 317 h 390"/>
                  <a:gd name="T54" fmla="*/ 158 w 369"/>
                  <a:gd name="T55" fmla="*/ 374 h 390"/>
                  <a:gd name="T56" fmla="*/ 45 w 369"/>
                  <a:gd name="T57" fmla="*/ 16 h 390"/>
                  <a:gd name="T58" fmla="*/ 246 w 369"/>
                  <a:gd name="T59" fmla="*/ 16 h 390"/>
                  <a:gd name="T60" fmla="*/ 246 w 369"/>
                  <a:gd name="T61" fmla="*/ 374 h 390"/>
                  <a:gd name="T62" fmla="*/ 173 w 369"/>
                  <a:gd name="T63" fmla="*/ 374 h 390"/>
                  <a:gd name="T64" fmla="*/ 173 w 369"/>
                  <a:gd name="T65" fmla="*/ 310 h 390"/>
                  <a:gd name="T66" fmla="*/ 165 w 369"/>
                  <a:gd name="T67" fmla="*/ 302 h 390"/>
                  <a:gd name="T68" fmla="*/ 126 w 369"/>
                  <a:gd name="T69" fmla="*/ 302 h 390"/>
                  <a:gd name="T70" fmla="*/ 118 w 369"/>
                  <a:gd name="T71" fmla="*/ 310 h 390"/>
                  <a:gd name="T72" fmla="*/ 118 w 369"/>
                  <a:gd name="T73" fmla="*/ 374 h 390"/>
                  <a:gd name="T74" fmla="*/ 45 w 369"/>
                  <a:gd name="T75" fmla="*/ 374 h 390"/>
                  <a:gd name="T76" fmla="*/ 45 w 369"/>
                  <a:gd name="T77" fmla="*/ 16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69" h="390">
                    <a:moveTo>
                      <a:pt x="7" y="390"/>
                    </a:moveTo>
                    <a:cubicBezTo>
                      <a:pt x="7" y="390"/>
                      <a:pt x="7" y="390"/>
                      <a:pt x="362" y="390"/>
                    </a:cubicBezTo>
                    <a:cubicBezTo>
                      <a:pt x="366" y="390"/>
                      <a:pt x="369" y="387"/>
                      <a:pt x="369" y="382"/>
                    </a:cubicBezTo>
                    <a:cubicBezTo>
                      <a:pt x="369" y="378"/>
                      <a:pt x="366" y="374"/>
                      <a:pt x="362" y="374"/>
                    </a:cubicBezTo>
                    <a:cubicBezTo>
                      <a:pt x="362" y="374"/>
                      <a:pt x="362" y="374"/>
                      <a:pt x="339" y="374"/>
                    </a:cubicBezTo>
                    <a:cubicBezTo>
                      <a:pt x="339" y="374"/>
                      <a:pt x="339" y="372"/>
                      <a:pt x="339" y="371"/>
                    </a:cubicBezTo>
                    <a:cubicBezTo>
                      <a:pt x="339" y="371"/>
                      <a:pt x="339" y="371"/>
                      <a:pt x="339" y="70"/>
                    </a:cubicBezTo>
                    <a:cubicBezTo>
                      <a:pt x="339" y="66"/>
                      <a:pt x="336" y="63"/>
                      <a:pt x="331" y="63"/>
                    </a:cubicBezTo>
                    <a:cubicBezTo>
                      <a:pt x="331" y="63"/>
                      <a:pt x="331" y="63"/>
                      <a:pt x="261" y="63"/>
                    </a:cubicBezTo>
                    <a:cubicBezTo>
                      <a:pt x="261" y="63"/>
                      <a:pt x="261" y="63"/>
                      <a:pt x="261" y="8"/>
                    </a:cubicBezTo>
                    <a:cubicBezTo>
                      <a:pt x="261" y="4"/>
                      <a:pt x="258" y="0"/>
                      <a:pt x="254" y="0"/>
                    </a:cubicBezTo>
                    <a:cubicBezTo>
                      <a:pt x="254" y="0"/>
                      <a:pt x="254" y="0"/>
                      <a:pt x="38" y="0"/>
                    </a:cubicBezTo>
                    <a:cubicBezTo>
                      <a:pt x="33" y="0"/>
                      <a:pt x="30" y="4"/>
                      <a:pt x="30" y="8"/>
                    </a:cubicBezTo>
                    <a:cubicBezTo>
                      <a:pt x="30" y="8"/>
                      <a:pt x="30" y="8"/>
                      <a:pt x="30" y="374"/>
                    </a:cubicBezTo>
                    <a:cubicBezTo>
                      <a:pt x="30" y="374"/>
                      <a:pt x="30" y="374"/>
                      <a:pt x="7" y="374"/>
                    </a:cubicBezTo>
                    <a:cubicBezTo>
                      <a:pt x="3" y="374"/>
                      <a:pt x="0" y="378"/>
                      <a:pt x="0" y="382"/>
                    </a:cubicBezTo>
                    <a:cubicBezTo>
                      <a:pt x="0" y="387"/>
                      <a:pt x="3" y="390"/>
                      <a:pt x="7" y="390"/>
                    </a:cubicBezTo>
                    <a:close/>
                    <a:moveTo>
                      <a:pt x="261" y="78"/>
                    </a:moveTo>
                    <a:cubicBezTo>
                      <a:pt x="261" y="78"/>
                      <a:pt x="261" y="78"/>
                      <a:pt x="324" y="78"/>
                    </a:cubicBezTo>
                    <a:cubicBezTo>
                      <a:pt x="324" y="78"/>
                      <a:pt x="324" y="78"/>
                      <a:pt x="324" y="371"/>
                    </a:cubicBezTo>
                    <a:cubicBezTo>
                      <a:pt x="324" y="372"/>
                      <a:pt x="324" y="374"/>
                      <a:pt x="324" y="374"/>
                    </a:cubicBezTo>
                    <a:cubicBezTo>
                      <a:pt x="324" y="374"/>
                      <a:pt x="324" y="374"/>
                      <a:pt x="261" y="374"/>
                    </a:cubicBezTo>
                    <a:lnTo>
                      <a:pt x="261" y="78"/>
                    </a:lnTo>
                    <a:close/>
                    <a:moveTo>
                      <a:pt x="158" y="374"/>
                    </a:moveTo>
                    <a:cubicBezTo>
                      <a:pt x="158" y="374"/>
                      <a:pt x="158" y="374"/>
                      <a:pt x="133" y="374"/>
                    </a:cubicBezTo>
                    <a:cubicBezTo>
                      <a:pt x="133" y="317"/>
                      <a:pt x="133" y="317"/>
                      <a:pt x="133" y="317"/>
                    </a:cubicBezTo>
                    <a:cubicBezTo>
                      <a:pt x="133" y="317"/>
                      <a:pt x="133" y="317"/>
                      <a:pt x="158" y="317"/>
                    </a:cubicBezTo>
                    <a:cubicBezTo>
                      <a:pt x="158" y="317"/>
                      <a:pt x="158" y="317"/>
                      <a:pt x="158" y="374"/>
                    </a:cubicBezTo>
                    <a:close/>
                    <a:moveTo>
                      <a:pt x="45" y="16"/>
                    </a:moveTo>
                    <a:cubicBezTo>
                      <a:pt x="45" y="16"/>
                      <a:pt x="45" y="16"/>
                      <a:pt x="246" y="16"/>
                    </a:cubicBezTo>
                    <a:cubicBezTo>
                      <a:pt x="246" y="16"/>
                      <a:pt x="246" y="16"/>
                      <a:pt x="246" y="374"/>
                    </a:cubicBezTo>
                    <a:cubicBezTo>
                      <a:pt x="246" y="374"/>
                      <a:pt x="246" y="374"/>
                      <a:pt x="173" y="374"/>
                    </a:cubicBezTo>
                    <a:cubicBezTo>
                      <a:pt x="173" y="310"/>
                      <a:pt x="173" y="310"/>
                      <a:pt x="173" y="310"/>
                    </a:cubicBezTo>
                    <a:cubicBezTo>
                      <a:pt x="173" y="305"/>
                      <a:pt x="170" y="302"/>
                      <a:pt x="165" y="302"/>
                    </a:cubicBezTo>
                    <a:cubicBezTo>
                      <a:pt x="165" y="302"/>
                      <a:pt x="165" y="302"/>
                      <a:pt x="126" y="302"/>
                    </a:cubicBezTo>
                    <a:cubicBezTo>
                      <a:pt x="121" y="302"/>
                      <a:pt x="118" y="305"/>
                      <a:pt x="118" y="310"/>
                    </a:cubicBezTo>
                    <a:cubicBezTo>
                      <a:pt x="118" y="310"/>
                      <a:pt x="118" y="310"/>
                      <a:pt x="118" y="374"/>
                    </a:cubicBezTo>
                    <a:cubicBezTo>
                      <a:pt x="118" y="374"/>
                      <a:pt x="118" y="374"/>
                      <a:pt x="45" y="374"/>
                    </a:cubicBezTo>
                    <a:cubicBezTo>
                      <a:pt x="45" y="374"/>
                      <a:pt x="45" y="374"/>
                      <a:pt x="45" y="16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 80">
                <a:extLst>
                  <a:ext uri="{FF2B5EF4-FFF2-40B4-BE49-F238E27FC236}">
                    <a16:creationId xmlns:a16="http://schemas.microsoft.com/office/drawing/2014/main" id="{44898F88-D051-264E-8966-3A696F451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1101726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4" name="Freeform 82">
                <a:extLst>
                  <a:ext uri="{FF2B5EF4-FFF2-40B4-BE49-F238E27FC236}">
                    <a16:creationId xmlns:a16="http://schemas.microsoft.com/office/drawing/2014/main" id="{839BDF27-7108-8E45-9E8E-34F8178ADB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649288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8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8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2"/>
                      <a:pt x="16" y="28"/>
                    </a:cubicBezTo>
                    <a:cubicBezTo>
                      <a:pt x="16" y="28"/>
                      <a:pt x="16" y="28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8"/>
                    </a:cubicBezTo>
                    <a:cubicBezTo>
                      <a:pt x="0" y="32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Freeform 83">
                <a:extLst>
                  <a:ext uri="{FF2B5EF4-FFF2-40B4-BE49-F238E27FC236}">
                    <a16:creationId xmlns:a16="http://schemas.microsoft.com/office/drawing/2014/main" id="{AC73FD07-460A-8F41-AEB6-37EB483DAA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801688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7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7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7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6" name="Freeform 84">
                <a:extLst>
                  <a:ext uri="{FF2B5EF4-FFF2-40B4-BE49-F238E27FC236}">
                    <a16:creationId xmlns:a16="http://schemas.microsoft.com/office/drawing/2014/main" id="{3456491F-056A-E844-8A97-78691D734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950913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ubicBezTo>
                      <a:pt x="12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3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Freeform 85">
                <a:extLst>
                  <a:ext uri="{FF2B5EF4-FFF2-40B4-BE49-F238E27FC236}">
                    <a16:creationId xmlns:a16="http://schemas.microsoft.com/office/drawing/2014/main" id="{FC3EC3EF-96B2-9041-AFA4-5F1C87FDE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8575" y="1250951"/>
                <a:ext cx="38100" cy="80963"/>
              </a:xfrm>
              <a:custGeom>
                <a:avLst/>
                <a:gdLst>
                  <a:gd name="T0" fmla="*/ 8 w 16"/>
                  <a:gd name="T1" fmla="*/ 0 h 35"/>
                  <a:gd name="T2" fmla="*/ 0 w 16"/>
                  <a:gd name="T3" fmla="*/ 8 h 35"/>
                  <a:gd name="T4" fmla="*/ 0 w 16"/>
                  <a:gd name="T5" fmla="*/ 27 h 35"/>
                  <a:gd name="T6" fmla="*/ 8 w 16"/>
                  <a:gd name="T7" fmla="*/ 35 h 35"/>
                  <a:gd name="T8" fmla="*/ 16 w 16"/>
                  <a:gd name="T9" fmla="*/ 27 h 35"/>
                  <a:gd name="T10" fmla="*/ 16 w 16"/>
                  <a:gd name="T11" fmla="*/ 8 h 35"/>
                  <a:gd name="T12" fmla="*/ 8 w 16"/>
                  <a:gd name="T1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ubicBezTo>
                      <a:pt x="12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2" y="0"/>
                      <a:pt x="8" y="0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8" name="Freeform 86">
                <a:extLst>
                  <a:ext uri="{FF2B5EF4-FFF2-40B4-BE49-F238E27FC236}">
                    <a16:creationId xmlns:a16="http://schemas.microsoft.com/office/drawing/2014/main" id="{25D5A2B4-855A-BD4E-B8CA-77CE07A45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801688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7 h 35"/>
                  <a:gd name="T4" fmla="*/ 15 w 15"/>
                  <a:gd name="T5" fmla="*/ 7 h 35"/>
                  <a:gd name="T6" fmla="*/ 8 w 15"/>
                  <a:gd name="T7" fmla="*/ 0 h 35"/>
                  <a:gd name="T8" fmla="*/ 0 w 15"/>
                  <a:gd name="T9" fmla="*/ 7 h 35"/>
                  <a:gd name="T10" fmla="*/ 0 w 15"/>
                  <a:gd name="T11" fmla="*/ 27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1"/>
                      <a:pt x="15" y="27"/>
                    </a:cubicBezTo>
                    <a:cubicBezTo>
                      <a:pt x="15" y="27"/>
                      <a:pt x="15" y="27"/>
                      <a:pt x="15" y="7"/>
                    </a:cubicBezTo>
                    <a:cubicBezTo>
                      <a:pt x="15" y="3"/>
                      <a:pt x="12" y="0"/>
                      <a:pt x="8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9" name="Freeform 88">
                <a:extLst>
                  <a:ext uri="{FF2B5EF4-FFF2-40B4-BE49-F238E27FC236}">
                    <a16:creationId xmlns:a16="http://schemas.microsoft.com/office/drawing/2014/main" id="{372B60C2-C98D-C247-B376-6D9649303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1250951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0" name="Freeform 89">
                <a:extLst>
                  <a:ext uri="{FF2B5EF4-FFF2-40B4-BE49-F238E27FC236}">
                    <a16:creationId xmlns:a16="http://schemas.microsoft.com/office/drawing/2014/main" id="{838CFD45-E193-3A4C-B24E-C8A3370B8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649288"/>
                <a:ext cx="34925" cy="80963"/>
              </a:xfrm>
              <a:custGeom>
                <a:avLst/>
                <a:gdLst>
                  <a:gd name="T0" fmla="*/ 8 w 15"/>
                  <a:gd name="T1" fmla="*/ 35 h 35"/>
                  <a:gd name="T2" fmla="*/ 15 w 15"/>
                  <a:gd name="T3" fmla="*/ 28 h 35"/>
                  <a:gd name="T4" fmla="*/ 15 w 15"/>
                  <a:gd name="T5" fmla="*/ 8 h 35"/>
                  <a:gd name="T6" fmla="*/ 8 w 15"/>
                  <a:gd name="T7" fmla="*/ 0 h 35"/>
                  <a:gd name="T8" fmla="*/ 0 w 15"/>
                  <a:gd name="T9" fmla="*/ 8 h 35"/>
                  <a:gd name="T10" fmla="*/ 0 w 15"/>
                  <a:gd name="T11" fmla="*/ 28 h 35"/>
                  <a:gd name="T12" fmla="*/ 8 w 15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35">
                    <a:moveTo>
                      <a:pt x="8" y="35"/>
                    </a:moveTo>
                    <a:cubicBezTo>
                      <a:pt x="12" y="35"/>
                      <a:pt x="15" y="32"/>
                      <a:pt x="15" y="28"/>
                    </a:cubicBezTo>
                    <a:cubicBezTo>
                      <a:pt x="15" y="28"/>
                      <a:pt x="15" y="28"/>
                      <a:pt x="15" y="8"/>
                    </a:cubicBezTo>
                    <a:cubicBezTo>
                      <a:pt x="15" y="4"/>
                      <a:pt x="12" y="0"/>
                      <a:pt x="8" y="0"/>
                    </a:cubicBezTo>
                    <a:cubicBezTo>
                      <a:pt x="3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8"/>
                    </a:cubicBezTo>
                    <a:cubicBezTo>
                      <a:pt x="0" y="32"/>
                      <a:pt x="3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5" name="Freeform 90">
                <a:extLst>
                  <a:ext uri="{FF2B5EF4-FFF2-40B4-BE49-F238E27FC236}">
                    <a16:creationId xmlns:a16="http://schemas.microsoft.com/office/drawing/2014/main" id="{12941AE6-2E4A-E34A-BD24-03EBBF0B1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1101726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2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2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6" name="Freeform 91">
                <a:extLst>
                  <a:ext uri="{FF2B5EF4-FFF2-40B4-BE49-F238E27FC236}">
                    <a16:creationId xmlns:a16="http://schemas.microsoft.com/office/drawing/2014/main" id="{59321BAF-2D1F-4E4F-9CCF-F473391EB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801688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7 h 35"/>
                  <a:gd name="T6" fmla="*/ 8 w 16"/>
                  <a:gd name="T7" fmla="*/ 0 h 35"/>
                  <a:gd name="T8" fmla="*/ 0 w 16"/>
                  <a:gd name="T9" fmla="*/ 7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7"/>
                    </a:cubicBezTo>
                    <a:cubicBezTo>
                      <a:pt x="16" y="3"/>
                      <a:pt x="13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ubicBezTo>
                      <a:pt x="0" y="7"/>
                      <a:pt x="0" y="7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7" name="Freeform 92">
                <a:extLst>
                  <a:ext uri="{FF2B5EF4-FFF2-40B4-BE49-F238E27FC236}">
                    <a16:creationId xmlns:a16="http://schemas.microsoft.com/office/drawing/2014/main" id="{1CE92F94-4678-EE4C-8574-922B95326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950913"/>
                <a:ext cx="36513" cy="80963"/>
              </a:xfrm>
              <a:custGeom>
                <a:avLst/>
                <a:gdLst>
                  <a:gd name="T0" fmla="*/ 8 w 16"/>
                  <a:gd name="T1" fmla="*/ 35 h 35"/>
                  <a:gd name="T2" fmla="*/ 16 w 16"/>
                  <a:gd name="T3" fmla="*/ 27 h 35"/>
                  <a:gd name="T4" fmla="*/ 16 w 16"/>
                  <a:gd name="T5" fmla="*/ 8 h 35"/>
                  <a:gd name="T6" fmla="*/ 8 w 16"/>
                  <a:gd name="T7" fmla="*/ 0 h 35"/>
                  <a:gd name="T8" fmla="*/ 0 w 16"/>
                  <a:gd name="T9" fmla="*/ 8 h 35"/>
                  <a:gd name="T10" fmla="*/ 0 w 16"/>
                  <a:gd name="T11" fmla="*/ 27 h 35"/>
                  <a:gd name="T12" fmla="*/ 8 w 16"/>
                  <a:gd name="T1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35">
                    <a:moveTo>
                      <a:pt x="8" y="35"/>
                    </a:moveTo>
                    <a:cubicBezTo>
                      <a:pt x="13" y="35"/>
                      <a:pt x="16" y="31"/>
                      <a:pt x="16" y="27"/>
                    </a:cubicBezTo>
                    <a:cubicBezTo>
                      <a:pt x="16" y="27"/>
                      <a:pt x="16" y="27"/>
                      <a:pt x="16" y="8"/>
                    </a:cubicBezTo>
                    <a:cubicBezTo>
                      <a:pt x="16" y="3"/>
                      <a:pt x="13" y="0"/>
                      <a:pt x="8" y="0"/>
                    </a:cubicBezTo>
                    <a:cubicBezTo>
                      <a:pt x="4" y="0"/>
                      <a:pt x="0" y="3"/>
                      <a:pt x="0" y="8"/>
                    </a:cubicBezTo>
                    <a:cubicBezTo>
                      <a:pt x="0" y="8"/>
                      <a:pt x="0" y="8"/>
                      <a:pt x="0" y="27"/>
                    </a:cubicBezTo>
                    <a:cubicBezTo>
                      <a:pt x="0" y="31"/>
                      <a:pt x="4" y="35"/>
                      <a:pt x="8" y="35"/>
                    </a:cubicBezTo>
                    <a:close/>
                  </a:path>
                </a:pathLst>
              </a:custGeom>
              <a:solidFill>
                <a:srgbClr val="01020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4" name="Freeform 71">
              <a:extLst>
                <a:ext uri="{FF2B5EF4-FFF2-40B4-BE49-F238E27FC236}">
                  <a16:creationId xmlns:a16="http://schemas.microsoft.com/office/drawing/2014/main" id="{BD91D66F-96E3-3142-8867-FC17BB756F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49548" y="3638145"/>
              <a:ext cx="376029" cy="321578"/>
            </a:xfrm>
            <a:custGeom>
              <a:avLst/>
              <a:gdLst>
                <a:gd name="T0" fmla="*/ 393 w 410"/>
                <a:gd name="T1" fmla="*/ 128 h 351"/>
                <a:gd name="T2" fmla="*/ 376 w 410"/>
                <a:gd name="T3" fmla="*/ 145 h 351"/>
                <a:gd name="T4" fmla="*/ 376 w 410"/>
                <a:gd name="T5" fmla="*/ 148 h 351"/>
                <a:gd name="T6" fmla="*/ 354 w 410"/>
                <a:gd name="T7" fmla="*/ 161 h 351"/>
                <a:gd name="T8" fmla="*/ 355 w 410"/>
                <a:gd name="T9" fmla="*/ 120 h 351"/>
                <a:gd name="T10" fmla="*/ 355 w 410"/>
                <a:gd name="T11" fmla="*/ 119 h 351"/>
                <a:gd name="T12" fmla="*/ 360 w 410"/>
                <a:gd name="T13" fmla="*/ 119 h 351"/>
                <a:gd name="T14" fmla="*/ 368 w 410"/>
                <a:gd name="T15" fmla="*/ 111 h 351"/>
                <a:gd name="T16" fmla="*/ 360 w 410"/>
                <a:gd name="T17" fmla="*/ 103 h 351"/>
                <a:gd name="T18" fmla="*/ 356 w 410"/>
                <a:gd name="T19" fmla="*/ 103 h 351"/>
                <a:gd name="T20" fmla="*/ 232 w 410"/>
                <a:gd name="T21" fmla="*/ 37 h 351"/>
                <a:gd name="T22" fmla="*/ 232 w 410"/>
                <a:gd name="T23" fmla="*/ 23 h 351"/>
                <a:gd name="T24" fmla="*/ 205 w 410"/>
                <a:gd name="T25" fmla="*/ 0 h 351"/>
                <a:gd name="T26" fmla="*/ 178 w 410"/>
                <a:gd name="T27" fmla="*/ 23 h 351"/>
                <a:gd name="T28" fmla="*/ 178 w 410"/>
                <a:gd name="T29" fmla="*/ 37 h 351"/>
                <a:gd name="T30" fmla="*/ 172 w 410"/>
                <a:gd name="T31" fmla="*/ 37 h 351"/>
                <a:gd name="T32" fmla="*/ 54 w 410"/>
                <a:gd name="T33" fmla="*/ 103 h 351"/>
                <a:gd name="T34" fmla="*/ 50 w 410"/>
                <a:gd name="T35" fmla="*/ 103 h 351"/>
                <a:gd name="T36" fmla="*/ 42 w 410"/>
                <a:gd name="T37" fmla="*/ 111 h 351"/>
                <a:gd name="T38" fmla="*/ 50 w 410"/>
                <a:gd name="T39" fmla="*/ 119 h 351"/>
                <a:gd name="T40" fmla="*/ 55 w 410"/>
                <a:gd name="T41" fmla="*/ 119 h 351"/>
                <a:gd name="T42" fmla="*/ 55 w 410"/>
                <a:gd name="T43" fmla="*/ 120 h 351"/>
                <a:gd name="T44" fmla="*/ 56 w 410"/>
                <a:gd name="T45" fmla="*/ 161 h 351"/>
                <a:gd name="T46" fmla="*/ 34 w 410"/>
                <a:gd name="T47" fmla="*/ 148 h 351"/>
                <a:gd name="T48" fmla="*/ 34 w 410"/>
                <a:gd name="T49" fmla="*/ 145 h 351"/>
                <a:gd name="T50" fmla="*/ 17 w 410"/>
                <a:gd name="T51" fmla="*/ 128 h 351"/>
                <a:gd name="T52" fmla="*/ 0 w 410"/>
                <a:gd name="T53" fmla="*/ 145 h 351"/>
                <a:gd name="T54" fmla="*/ 17 w 410"/>
                <a:gd name="T55" fmla="*/ 162 h 351"/>
                <a:gd name="T56" fmla="*/ 24 w 410"/>
                <a:gd name="T57" fmla="*/ 160 h 351"/>
                <a:gd name="T58" fmla="*/ 57 w 410"/>
                <a:gd name="T59" fmla="*/ 178 h 351"/>
                <a:gd name="T60" fmla="*/ 66 w 410"/>
                <a:gd name="T61" fmla="*/ 322 h 351"/>
                <a:gd name="T62" fmla="*/ 110 w 410"/>
                <a:gd name="T63" fmla="*/ 351 h 351"/>
                <a:gd name="T64" fmla="*/ 300 w 410"/>
                <a:gd name="T65" fmla="*/ 351 h 351"/>
                <a:gd name="T66" fmla="*/ 344 w 410"/>
                <a:gd name="T67" fmla="*/ 322 h 351"/>
                <a:gd name="T68" fmla="*/ 353 w 410"/>
                <a:gd name="T69" fmla="*/ 178 h 351"/>
                <a:gd name="T70" fmla="*/ 386 w 410"/>
                <a:gd name="T71" fmla="*/ 160 h 351"/>
                <a:gd name="T72" fmla="*/ 393 w 410"/>
                <a:gd name="T73" fmla="*/ 162 h 351"/>
                <a:gd name="T74" fmla="*/ 410 w 410"/>
                <a:gd name="T75" fmla="*/ 145 h 351"/>
                <a:gd name="T76" fmla="*/ 393 w 410"/>
                <a:gd name="T77" fmla="*/ 128 h 351"/>
                <a:gd name="T78" fmla="*/ 194 w 410"/>
                <a:gd name="T79" fmla="*/ 23 h 351"/>
                <a:gd name="T80" fmla="*/ 205 w 410"/>
                <a:gd name="T81" fmla="*/ 16 h 351"/>
                <a:gd name="T82" fmla="*/ 216 w 410"/>
                <a:gd name="T83" fmla="*/ 23 h 351"/>
                <a:gd name="T84" fmla="*/ 216 w 410"/>
                <a:gd name="T85" fmla="*/ 37 h 351"/>
                <a:gd name="T86" fmla="*/ 194 w 410"/>
                <a:gd name="T87" fmla="*/ 37 h 351"/>
                <a:gd name="T88" fmla="*/ 194 w 410"/>
                <a:gd name="T89" fmla="*/ 23 h 351"/>
                <a:gd name="T90" fmla="*/ 173 w 410"/>
                <a:gd name="T91" fmla="*/ 53 h 351"/>
                <a:gd name="T92" fmla="*/ 230 w 410"/>
                <a:gd name="T93" fmla="*/ 52 h 351"/>
                <a:gd name="T94" fmla="*/ 340 w 410"/>
                <a:gd name="T95" fmla="*/ 103 h 351"/>
                <a:gd name="T96" fmla="*/ 70 w 410"/>
                <a:gd name="T97" fmla="*/ 103 h 351"/>
                <a:gd name="T98" fmla="*/ 173 w 410"/>
                <a:gd name="T99" fmla="*/ 53 h 351"/>
                <a:gd name="T100" fmla="*/ 330 w 410"/>
                <a:gd name="T101" fmla="*/ 315 h 351"/>
                <a:gd name="T102" fmla="*/ 300 w 410"/>
                <a:gd name="T103" fmla="*/ 335 h 351"/>
                <a:gd name="T104" fmla="*/ 110 w 410"/>
                <a:gd name="T105" fmla="*/ 335 h 351"/>
                <a:gd name="T106" fmla="*/ 80 w 410"/>
                <a:gd name="T107" fmla="*/ 315 h 351"/>
                <a:gd name="T108" fmla="*/ 73 w 410"/>
                <a:gd name="T109" fmla="*/ 177 h 351"/>
                <a:gd name="T110" fmla="*/ 71 w 410"/>
                <a:gd name="T111" fmla="*/ 119 h 351"/>
                <a:gd name="T112" fmla="*/ 339 w 410"/>
                <a:gd name="T113" fmla="*/ 119 h 351"/>
                <a:gd name="T114" fmla="*/ 337 w 410"/>
                <a:gd name="T115" fmla="*/ 177 h 351"/>
                <a:gd name="T116" fmla="*/ 330 w 410"/>
                <a:gd name="T117" fmla="*/ 315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0" h="351">
                  <a:moveTo>
                    <a:pt x="393" y="128"/>
                  </a:moveTo>
                  <a:cubicBezTo>
                    <a:pt x="384" y="128"/>
                    <a:pt x="376" y="136"/>
                    <a:pt x="376" y="145"/>
                  </a:cubicBezTo>
                  <a:cubicBezTo>
                    <a:pt x="376" y="146"/>
                    <a:pt x="376" y="147"/>
                    <a:pt x="376" y="148"/>
                  </a:cubicBezTo>
                  <a:cubicBezTo>
                    <a:pt x="372" y="150"/>
                    <a:pt x="364" y="154"/>
                    <a:pt x="354" y="161"/>
                  </a:cubicBezTo>
                  <a:cubicBezTo>
                    <a:pt x="354" y="140"/>
                    <a:pt x="354" y="124"/>
                    <a:pt x="355" y="120"/>
                  </a:cubicBezTo>
                  <a:cubicBezTo>
                    <a:pt x="355" y="119"/>
                    <a:pt x="355" y="119"/>
                    <a:pt x="355" y="119"/>
                  </a:cubicBezTo>
                  <a:cubicBezTo>
                    <a:pt x="355" y="119"/>
                    <a:pt x="355" y="119"/>
                    <a:pt x="360" y="119"/>
                  </a:cubicBezTo>
                  <a:cubicBezTo>
                    <a:pt x="364" y="119"/>
                    <a:pt x="368" y="115"/>
                    <a:pt x="368" y="111"/>
                  </a:cubicBezTo>
                  <a:cubicBezTo>
                    <a:pt x="368" y="106"/>
                    <a:pt x="364" y="103"/>
                    <a:pt x="360" y="103"/>
                  </a:cubicBezTo>
                  <a:cubicBezTo>
                    <a:pt x="360" y="103"/>
                    <a:pt x="360" y="103"/>
                    <a:pt x="356" y="103"/>
                  </a:cubicBezTo>
                  <a:cubicBezTo>
                    <a:pt x="356" y="60"/>
                    <a:pt x="252" y="39"/>
                    <a:pt x="232" y="37"/>
                  </a:cubicBezTo>
                  <a:cubicBezTo>
                    <a:pt x="232" y="32"/>
                    <a:pt x="232" y="26"/>
                    <a:pt x="232" y="23"/>
                  </a:cubicBezTo>
                  <a:cubicBezTo>
                    <a:pt x="232" y="12"/>
                    <a:pt x="220" y="0"/>
                    <a:pt x="205" y="0"/>
                  </a:cubicBezTo>
                  <a:cubicBezTo>
                    <a:pt x="190" y="0"/>
                    <a:pt x="178" y="12"/>
                    <a:pt x="178" y="23"/>
                  </a:cubicBezTo>
                  <a:cubicBezTo>
                    <a:pt x="178" y="26"/>
                    <a:pt x="178" y="32"/>
                    <a:pt x="178" y="37"/>
                  </a:cubicBezTo>
                  <a:cubicBezTo>
                    <a:pt x="178" y="37"/>
                    <a:pt x="178" y="37"/>
                    <a:pt x="172" y="37"/>
                  </a:cubicBezTo>
                  <a:cubicBezTo>
                    <a:pt x="155" y="38"/>
                    <a:pt x="55" y="62"/>
                    <a:pt x="54" y="103"/>
                  </a:cubicBezTo>
                  <a:cubicBezTo>
                    <a:pt x="54" y="103"/>
                    <a:pt x="54" y="103"/>
                    <a:pt x="50" y="103"/>
                  </a:cubicBezTo>
                  <a:cubicBezTo>
                    <a:pt x="46" y="103"/>
                    <a:pt x="42" y="106"/>
                    <a:pt x="42" y="111"/>
                  </a:cubicBezTo>
                  <a:cubicBezTo>
                    <a:pt x="42" y="115"/>
                    <a:pt x="46" y="119"/>
                    <a:pt x="50" y="119"/>
                  </a:cubicBezTo>
                  <a:cubicBezTo>
                    <a:pt x="50" y="119"/>
                    <a:pt x="50" y="119"/>
                    <a:pt x="55" y="119"/>
                  </a:cubicBezTo>
                  <a:cubicBezTo>
                    <a:pt x="55" y="119"/>
                    <a:pt x="55" y="119"/>
                    <a:pt x="55" y="120"/>
                  </a:cubicBezTo>
                  <a:cubicBezTo>
                    <a:pt x="56" y="124"/>
                    <a:pt x="56" y="140"/>
                    <a:pt x="56" y="161"/>
                  </a:cubicBezTo>
                  <a:cubicBezTo>
                    <a:pt x="51" y="158"/>
                    <a:pt x="44" y="153"/>
                    <a:pt x="34" y="148"/>
                  </a:cubicBezTo>
                  <a:cubicBezTo>
                    <a:pt x="34" y="147"/>
                    <a:pt x="34" y="146"/>
                    <a:pt x="34" y="145"/>
                  </a:cubicBezTo>
                  <a:cubicBezTo>
                    <a:pt x="34" y="136"/>
                    <a:pt x="26" y="128"/>
                    <a:pt x="17" y="128"/>
                  </a:cubicBezTo>
                  <a:cubicBezTo>
                    <a:pt x="8" y="128"/>
                    <a:pt x="0" y="136"/>
                    <a:pt x="0" y="145"/>
                  </a:cubicBezTo>
                  <a:cubicBezTo>
                    <a:pt x="0" y="154"/>
                    <a:pt x="8" y="162"/>
                    <a:pt x="17" y="162"/>
                  </a:cubicBezTo>
                  <a:cubicBezTo>
                    <a:pt x="20" y="162"/>
                    <a:pt x="22" y="161"/>
                    <a:pt x="24" y="160"/>
                  </a:cubicBezTo>
                  <a:cubicBezTo>
                    <a:pt x="30" y="163"/>
                    <a:pt x="40" y="169"/>
                    <a:pt x="57" y="178"/>
                  </a:cubicBezTo>
                  <a:cubicBezTo>
                    <a:pt x="59" y="268"/>
                    <a:pt x="61" y="312"/>
                    <a:pt x="66" y="322"/>
                  </a:cubicBezTo>
                  <a:cubicBezTo>
                    <a:pt x="75" y="341"/>
                    <a:pt x="90" y="351"/>
                    <a:pt x="110" y="351"/>
                  </a:cubicBezTo>
                  <a:cubicBezTo>
                    <a:pt x="110" y="351"/>
                    <a:pt x="110" y="351"/>
                    <a:pt x="300" y="351"/>
                  </a:cubicBezTo>
                  <a:cubicBezTo>
                    <a:pt x="320" y="351"/>
                    <a:pt x="335" y="341"/>
                    <a:pt x="344" y="322"/>
                  </a:cubicBezTo>
                  <a:cubicBezTo>
                    <a:pt x="349" y="312"/>
                    <a:pt x="351" y="268"/>
                    <a:pt x="353" y="178"/>
                  </a:cubicBezTo>
                  <a:cubicBezTo>
                    <a:pt x="357" y="176"/>
                    <a:pt x="366" y="171"/>
                    <a:pt x="386" y="160"/>
                  </a:cubicBezTo>
                  <a:cubicBezTo>
                    <a:pt x="388" y="161"/>
                    <a:pt x="390" y="162"/>
                    <a:pt x="393" y="162"/>
                  </a:cubicBezTo>
                  <a:cubicBezTo>
                    <a:pt x="402" y="162"/>
                    <a:pt x="410" y="154"/>
                    <a:pt x="410" y="145"/>
                  </a:cubicBezTo>
                  <a:cubicBezTo>
                    <a:pt x="410" y="136"/>
                    <a:pt x="402" y="128"/>
                    <a:pt x="393" y="128"/>
                  </a:cubicBezTo>
                  <a:close/>
                  <a:moveTo>
                    <a:pt x="194" y="23"/>
                  </a:moveTo>
                  <a:cubicBezTo>
                    <a:pt x="194" y="21"/>
                    <a:pt x="199" y="16"/>
                    <a:pt x="205" y="16"/>
                  </a:cubicBezTo>
                  <a:cubicBezTo>
                    <a:pt x="211" y="16"/>
                    <a:pt x="216" y="21"/>
                    <a:pt x="216" y="23"/>
                  </a:cubicBezTo>
                  <a:cubicBezTo>
                    <a:pt x="216" y="27"/>
                    <a:pt x="216" y="33"/>
                    <a:pt x="216" y="37"/>
                  </a:cubicBezTo>
                  <a:cubicBezTo>
                    <a:pt x="216" y="37"/>
                    <a:pt x="216" y="37"/>
                    <a:pt x="194" y="37"/>
                  </a:cubicBezTo>
                  <a:cubicBezTo>
                    <a:pt x="194" y="33"/>
                    <a:pt x="194" y="27"/>
                    <a:pt x="194" y="23"/>
                  </a:cubicBezTo>
                  <a:close/>
                  <a:moveTo>
                    <a:pt x="173" y="53"/>
                  </a:moveTo>
                  <a:cubicBezTo>
                    <a:pt x="173" y="53"/>
                    <a:pt x="173" y="53"/>
                    <a:pt x="230" y="52"/>
                  </a:cubicBezTo>
                  <a:cubicBezTo>
                    <a:pt x="258" y="55"/>
                    <a:pt x="340" y="78"/>
                    <a:pt x="340" y="103"/>
                  </a:cubicBezTo>
                  <a:cubicBezTo>
                    <a:pt x="340" y="103"/>
                    <a:pt x="340" y="103"/>
                    <a:pt x="70" y="103"/>
                  </a:cubicBezTo>
                  <a:cubicBezTo>
                    <a:pt x="72" y="80"/>
                    <a:pt x="149" y="55"/>
                    <a:pt x="173" y="53"/>
                  </a:cubicBezTo>
                  <a:close/>
                  <a:moveTo>
                    <a:pt x="330" y="315"/>
                  </a:moveTo>
                  <a:cubicBezTo>
                    <a:pt x="323" y="329"/>
                    <a:pt x="314" y="335"/>
                    <a:pt x="300" y="335"/>
                  </a:cubicBezTo>
                  <a:cubicBezTo>
                    <a:pt x="300" y="335"/>
                    <a:pt x="300" y="335"/>
                    <a:pt x="110" y="335"/>
                  </a:cubicBezTo>
                  <a:cubicBezTo>
                    <a:pt x="96" y="335"/>
                    <a:pt x="87" y="329"/>
                    <a:pt x="80" y="315"/>
                  </a:cubicBezTo>
                  <a:cubicBezTo>
                    <a:pt x="76" y="305"/>
                    <a:pt x="74" y="222"/>
                    <a:pt x="73" y="177"/>
                  </a:cubicBezTo>
                  <a:cubicBezTo>
                    <a:pt x="72" y="145"/>
                    <a:pt x="72" y="126"/>
                    <a:pt x="71" y="119"/>
                  </a:cubicBezTo>
                  <a:cubicBezTo>
                    <a:pt x="339" y="119"/>
                    <a:pt x="339" y="119"/>
                    <a:pt x="339" y="119"/>
                  </a:cubicBezTo>
                  <a:cubicBezTo>
                    <a:pt x="338" y="126"/>
                    <a:pt x="338" y="145"/>
                    <a:pt x="337" y="177"/>
                  </a:cubicBezTo>
                  <a:cubicBezTo>
                    <a:pt x="336" y="222"/>
                    <a:pt x="334" y="305"/>
                    <a:pt x="330" y="315"/>
                  </a:cubicBezTo>
                  <a:close/>
                </a:path>
              </a:pathLst>
            </a:custGeom>
            <a:solidFill>
              <a:srgbClr val="1B1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88" name="Freeform 70">
            <a:extLst>
              <a:ext uri="{FF2B5EF4-FFF2-40B4-BE49-F238E27FC236}">
                <a16:creationId xmlns:a16="http://schemas.microsoft.com/office/drawing/2014/main" id="{574F71CE-8872-694A-8B89-09DE7C7036CF}"/>
              </a:ext>
            </a:extLst>
          </p:cNvPr>
          <p:cNvSpPr>
            <a:spLocks noEditPoints="1"/>
          </p:cNvSpPr>
          <p:nvPr/>
        </p:nvSpPr>
        <p:spPr bwMode="auto">
          <a:xfrm>
            <a:off x="7675699" y="2651058"/>
            <a:ext cx="287182" cy="440346"/>
          </a:xfrm>
          <a:custGeom>
            <a:avLst/>
            <a:gdLst>
              <a:gd name="T0" fmla="*/ 140 w 145"/>
              <a:gd name="T1" fmla="*/ 180 h 223"/>
              <a:gd name="T2" fmla="*/ 145 w 145"/>
              <a:gd name="T3" fmla="*/ 162 h 223"/>
              <a:gd name="T4" fmla="*/ 145 w 145"/>
              <a:gd name="T5" fmla="*/ 161 h 223"/>
              <a:gd name="T6" fmla="*/ 142 w 145"/>
              <a:gd name="T7" fmla="*/ 149 h 223"/>
              <a:gd name="T8" fmla="*/ 90 w 145"/>
              <a:gd name="T9" fmla="*/ 12 h 223"/>
              <a:gd name="T10" fmla="*/ 80 w 145"/>
              <a:gd name="T11" fmla="*/ 2 h 223"/>
              <a:gd name="T12" fmla="*/ 68 w 145"/>
              <a:gd name="T13" fmla="*/ 2 h 223"/>
              <a:gd name="T14" fmla="*/ 60 w 145"/>
              <a:gd name="T15" fmla="*/ 11 h 223"/>
              <a:gd name="T16" fmla="*/ 59 w 145"/>
              <a:gd name="T17" fmla="*/ 12 h 223"/>
              <a:gd name="T18" fmla="*/ 32 w 145"/>
              <a:gd name="T19" fmla="*/ 80 h 223"/>
              <a:gd name="T20" fmla="*/ 3 w 145"/>
              <a:gd name="T21" fmla="*/ 150 h 223"/>
              <a:gd name="T22" fmla="*/ 1 w 145"/>
              <a:gd name="T23" fmla="*/ 161 h 223"/>
              <a:gd name="T24" fmla="*/ 1 w 145"/>
              <a:gd name="T25" fmla="*/ 162 h 223"/>
              <a:gd name="T26" fmla="*/ 5 w 145"/>
              <a:gd name="T27" fmla="*/ 179 h 223"/>
              <a:gd name="T28" fmla="*/ 73 w 145"/>
              <a:gd name="T29" fmla="*/ 223 h 223"/>
              <a:gd name="T30" fmla="*/ 140 w 145"/>
              <a:gd name="T31" fmla="*/ 180 h 223"/>
              <a:gd name="T32" fmla="*/ 46 w 145"/>
              <a:gd name="T33" fmla="*/ 86 h 223"/>
              <a:gd name="T34" fmla="*/ 74 w 145"/>
              <a:gd name="T35" fmla="*/ 17 h 223"/>
              <a:gd name="T36" fmla="*/ 127 w 145"/>
              <a:gd name="T37" fmla="*/ 154 h 223"/>
              <a:gd name="T38" fmla="*/ 18 w 145"/>
              <a:gd name="T39" fmla="*/ 154 h 223"/>
              <a:gd name="T40" fmla="*/ 46 w 145"/>
              <a:gd name="T41" fmla="*/ 86 h 223"/>
              <a:gd name="T42" fmla="*/ 19 w 145"/>
              <a:gd name="T43" fmla="*/ 171 h 223"/>
              <a:gd name="T44" fmla="*/ 18 w 145"/>
              <a:gd name="T45" fmla="*/ 170 h 223"/>
              <a:gd name="T46" fmla="*/ 127 w 145"/>
              <a:gd name="T47" fmla="*/ 170 h 223"/>
              <a:gd name="T48" fmla="*/ 126 w 145"/>
              <a:gd name="T49" fmla="*/ 172 h 223"/>
              <a:gd name="T50" fmla="*/ 73 w 145"/>
              <a:gd name="T51" fmla="*/ 207 h 223"/>
              <a:gd name="T52" fmla="*/ 19 w 145"/>
              <a:gd name="T53" fmla="*/ 171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45" h="223">
                <a:moveTo>
                  <a:pt x="140" y="180"/>
                </a:moveTo>
                <a:cubicBezTo>
                  <a:pt x="144" y="173"/>
                  <a:pt x="145" y="168"/>
                  <a:pt x="145" y="162"/>
                </a:cubicBezTo>
                <a:cubicBezTo>
                  <a:pt x="145" y="161"/>
                  <a:pt x="145" y="161"/>
                  <a:pt x="145" y="161"/>
                </a:cubicBezTo>
                <a:cubicBezTo>
                  <a:pt x="144" y="157"/>
                  <a:pt x="143" y="153"/>
                  <a:pt x="142" y="149"/>
                </a:cubicBezTo>
                <a:cubicBezTo>
                  <a:pt x="142" y="149"/>
                  <a:pt x="142" y="149"/>
                  <a:pt x="90" y="12"/>
                </a:cubicBezTo>
                <a:cubicBezTo>
                  <a:pt x="88" y="7"/>
                  <a:pt x="84" y="3"/>
                  <a:pt x="80" y="2"/>
                </a:cubicBezTo>
                <a:cubicBezTo>
                  <a:pt x="76" y="0"/>
                  <a:pt x="71" y="0"/>
                  <a:pt x="68" y="2"/>
                </a:cubicBezTo>
                <a:cubicBezTo>
                  <a:pt x="64" y="4"/>
                  <a:pt x="61" y="7"/>
                  <a:pt x="60" y="11"/>
                </a:cubicBezTo>
                <a:cubicBezTo>
                  <a:pt x="59" y="12"/>
                  <a:pt x="59" y="12"/>
                  <a:pt x="59" y="12"/>
                </a:cubicBezTo>
                <a:cubicBezTo>
                  <a:pt x="50" y="38"/>
                  <a:pt x="41" y="59"/>
                  <a:pt x="32" y="80"/>
                </a:cubicBezTo>
                <a:cubicBezTo>
                  <a:pt x="22" y="101"/>
                  <a:pt x="13" y="122"/>
                  <a:pt x="3" y="150"/>
                </a:cubicBezTo>
                <a:cubicBezTo>
                  <a:pt x="2" y="154"/>
                  <a:pt x="1" y="157"/>
                  <a:pt x="1" y="161"/>
                </a:cubicBezTo>
                <a:cubicBezTo>
                  <a:pt x="1" y="162"/>
                  <a:pt x="1" y="162"/>
                  <a:pt x="1" y="162"/>
                </a:cubicBezTo>
                <a:cubicBezTo>
                  <a:pt x="0" y="168"/>
                  <a:pt x="2" y="173"/>
                  <a:pt x="5" y="179"/>
                </a:cubicBezTo>
                <a:cubicBezTo>
                  <a:pt x="19" y="206"/>
                  <a:pt x="45" y="223"/>
                  <a:pt x="73" y="223"/>
                </a:cubicBezTo>
                <a:cubicBezTo>
                  <a:pt x="100" y="223"/>
                  <a:pt x="126" y="207"/>
                  <a:pt x="140" y="180"/>
                </a:cubicBezTo>
                <a:close/>
                <a:moveTo>
                  <a:pt x="46" y="86"/>
                </a:moveTo>
                <a:cubicBezTo>
                  <a:pt x="55" y="65"/>
                  <a:pt x="65" y="44"/>
                  <a:pt x="74" y="17"/>
                </a:cubicBezTo>
                <a:cubicBezTo>
                  <a:pt x="74" y="17"/>
                  <a:pt x="74" y="17"/>
                  <a:pt x="127" y="154"/>
                </a:cubicBezTo>
                <a:cubicBezTo>
                  <a:pt x="127" y="154"/>
                  <a:pt x="127" y="154"/>
                  <a:pt x="18" y="154"/>
                </a:cubicBezTo>
                <a:cubicBezTo>
                  <a:pt x="28" y="128"/>
                  <a:pt x="37" y="107"/>
                  <a:pt x="46" y="86"/>
                </a:cubicBezTo>
                <a:close/>
                <a:moveTo>
                  <a:pt x="19" y="171"/>
                </a:moveTo>
                <a:cubicBezTo>
                  <a:pt x="18" y="171"/>
                  <a:pt x="18" y="170"/>
                  <a:pt x="18" y="170"/>
                </a:cubicBezTo>
                <a:cubicBezTo>
                  <a:pt x="127" y="170"/>
                  <a:pt x="127" y="170"/>
                  <a:pt x="127" y="170"/>
                </a:cubicBezTo>
                <a:cubicBezTo>
                  <a:pt x="127" y="171"/>
                  <a:pt x="127" y="171"/>
                  <a:pt x="126" y="172"/>
                </a:cubicBezTo>
                <a:cubicBezTo>
                  <a:pt x="115" y="194"/>
                  <a:pt x="95" y="207"/>
                  <a:pt x="73" y="207"/>
                </a:cubicBezTo>
                <a:cubicBezTo>
                  <a:pt x="51" y="207"/>
                  <a:pt x="30" y="194"/>
                  <a:pt x="19" y="171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9" name="Freeform 76">
            <a:extLst>
              <a:ext uri="{FF2B5EF4-FFF2-40B4-BE49-F238E27FC236}">
                <a16:creationId xmlns:a16="http://schemas.microsoft.com/office/drawing/2014/main" id="{351CD18F-7D5C-914D-AE52-1D41C2AE7DEE}"/>
              </a:ext>
            </a:extLst>
          </p:cNvPr>
          <p:cNvSpPr>
            <a:spLocks noEditPoints="1"/>
          </p:cNvSpPr>
          <p:nvPr/>
        </p:nvSpPr>
        <p:spPr bwMode="auto">
          <a:xfrm>
            <a:off x="7290054" y="2573108"/>
            <a:ext cx="619493" cy="750777"/>
          </a:xfrm>
          <a:custGeom>
            <a:avLst/>
            <a:gdLst>
              <a:gd name="T0" fmla="*/ 67 w 313"/>
              <a:gd name="T1" fmla="*/ 379 h 379"/>
              <a:gd name="T2" fmla="*/ 246 w 313"/>
              <a:gd name="T3" fmla="*/ 379 h 379"/>
              <a:gd name="T4" fmla="*/ 254 w 313"/>
              <a:gd name="T5" fmla="*/ 371 h 379"/>
              <a:gd name="T6" fmla="*/ 246 w 313"/>
              <a:gd name="T7" fmla="*/ 363 h 379"/>
              <a:gd name="T8" fmla="*/ 164 w 313"/>
              <a:gd name="T9" fmla="*/ 363 h 379"/>
              <a:gd name="T10" fmla="*/ 164 w 313"/>
              <a:gd name="T11" fmla="*/ 93 h 379"/>
              <a:gd name="T12" fmla="*/ 186 w 313"/>
              <a:gd name="T13" fmla="*/ 64 h 379"/>
              <a:gd name="T14" fmla="*/ 186 w 313"/>
              <a:gd name="T15" fmla="*/ 60 h 379"/>
              <a:gd name="T16" fmla="*/ 307 w 313"/>
              <a:gd name="T17" fmla="*/ 16 h 379"/>
              <a:gd name="T18" fmla="*/ 311 w 313"/>
              <a:gd name="T19" fmla="*/ 6 h 379"/>
              <a:gd name="T20" fmla="*/ 301 w 313"/>
              <a:gd name="T21" fmla="*/ 1 h 379"/>
              <a:gd name="T22" fmla="*/ 180 w 313"/>
              <a:gd name="T23" fmla="*/ 46 h 379"/>
              <a:gd name="T24" fmla="*/ 157 w 313"/>
              <a:gd name="T25" fmla="*/ 34 h 379"/>
              <a:gd name="T26" fmla="*/ 127 w 313"/>
              <a:gd name="T27" fmla="*/ 64 h 379"/>
              <a:gd name="T28" fmla="*/ 127 w 313"/>
              <a:gd name="T29" fmla="*/ 65 h 379"/>
              <a:gd name="T30" fmla="*/ 7 w 313"/>
              <a:gd name="T31" fmla="*/ 109 h 379"/>
              <a:gd name="T32" fmla="*/ 2 w 313"/>
              <a:gd name="T33" fmla="*/ 119 h 379"/>
              <a:gd name="T34" fmla="*/ 12 w 313"/>
              <a:gd name="T35" fmla="*/ 123 h 379"/>
              <a:gd name="T36" fmla="*/ 131 w 313"/>
              <a:gd name="T37" fmla="*/ 80 h 379"/>
              <a:gd name="T38" fmla="*/ 149 w 313"/>
              <a:gd name="T39" fmla="*/ 93 h 379"/>
              <a:gd name="T40" fmla="*/ 149 w 313"/>
              <a:gd name="T41" fmla="*/ 363 h 379"/>
              <a:gd name="T42" fmla="*/ 67 w 313"/>
              <a:gd name="T43" fmla="*/ 363 h 379"/>
              <a:gd name="T44" fmla="*/ 60 w 313"/>
              <a:gd name="T45" fmla="*/ 371 h 379"/>
              <a:gd name="T46" fmla="*/ 67 w 313"/>
              <a:gd name="T47" fmla="*/ 379 h 379"/>
              <a:gd name="T48" fmla="*/ 142 w 313"/>
              <a:gd name="T49" fmla="*/ 64 h 379"/>
              <a:gd name="T50" fmla="*/ 157 w 313"/>
              <a:gd name="T51" fmla="*/ 50 h 379"/>
              <a:gd name="T52" fmla="*/ 171 w 313"/>
              <a:gd name="T53" fmla="*/ 64 h 379"/>
              <a:gd name="T54" fmla="*/ 157 w 313"/>
              <a:gd name="T55" fmla="*/ 78 h 379"/>
              <a:gd name="T56" fmla="*/ 142 w 313"/>
              <a:gd name="T57" fmla="*/ 64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13" h="379">
                <a:moveTo>
                  <a:pt x="67" y="379"/>
                </a:moveTo>
                <a:cubicBezTo>
                  <a:pt x="67" y="379"/>
                  <a:pt x="67" y="379"/>
                  <a:pt x="246" y="379"/>
                </a:cubicBezTo>
                <a:cubicBezTo>
                  <a:pt x="250" y="379"/>
                  <a:pt x="254" y="375"/>
                  <a:pt x="254" y="371"/>
                </a:cubicBezTo>
                <a:cubicBezTo>
                  <a:pt x="254" y="367"/>
                  <a:pt x="250" y="363"/>
                  <a:pt x="246" y="363"/>
                </a:cubicBezTo>
                <a:cubicBezTo>
                  <a:pt x="246" y="363"/>
                  <a:pt x="246" y="363"/>
                  <a:pt x="164" y="363"/>
                </a:cubicBezTo>
                <a:cubicBezTo>
                  <a:pt x="164" y="363"/>
                  <a:pt x="164" y="363"/>
                  <a:pt x="164" y="93"/>
                </a:cubicBezTo>
                <a:cubicBezTo>
                  <a:pt x="177" y="90"/>
                  <a:pt x="186" y="78"/>
                  <a:pt x="186" y="64"/>
                </a:cubicBezTo>
                <a:cubicBezTo>
                  <a:pt x="186" y="63"/>
                  <a:pt x="186" y="61"/>
                  <a:pt x="186" y="60"/>
                </a:cubicBezTo>
                <a:cubicBezTo>
                  <a:pt x="186" y="60"/>
                  <a:pt x="186" y="60"/>
                  <a:pt x="307" y="16"/>
                </a:cubicBezTo>
                <a:cubicBezTo>
                  <a:pt x="311" y="15"/>
                  <a:pt x="313" y="10"/>
                  <a:pt x="311" y="6"/>
                </a:cubicBezTo>
                <a:cubicBezTo>
                  <a:pt x="310" y="2"/>
                  <a:pt x="305" y="0"/>
                  <a:pt x="301" y="1"/>
                </a:cubicBezTo>
                <a:cubicBezTo>
                  <a:pt x="301" y="1"/>
                  <a:pt x="301" y="1"/>
                  <a:pt x="180" y="46"/>
                </a:cubicBezTo>
                <a:cubicBezTo>
                  <a:pt x="174" y="39"/>
                  <a:pt x="166" y="34"/>
                  <a:pt x="157" y="34"/>
                </a:cubicBezTo>
                <a:cubicBezTo>
                  <a:pt x="140" y="34"/>
                  <a:pt x="127" y="48"/>
                  <a:pt x="127" y="64"/>
                </a:cubicBezTo>
                <a:cubicBezTo>
                  <a:pt x="127" y="65"/>
                  <a:pt x="127" y="65"/>
                  <a:pt x="127" y="65"/>
                </a:cubicBezTo>
                <a:cubicBezTo>
                  <a:pt x="127" y="65"/>
                  <a:pt x="127" y="65"/>
                  <a:pt x="7" y="109"/>
                </a:cubicBezTo>
                <a:cubicBezTo>
                  <a:pt x="3" y="110"/>
                  <a:pt x="0" y="115"/>
                  <a:pt x="2" y="119"/>
                </a:cubicBezTo>
                <a:cubicBezTo>
                  <a:pt x="3" y="123"/>
                  <a:pt x="8" y="125"/>
                  <a:pt x="12" y="123"/>
                </a:cubicBezTo>
                <a:cubicBezTo>
                  <a:pt x="12" y="123"/>
                  <a:pt x="12" y="123"/>
                  <a:pt x="131" y="80"/>
                </a:cubicBezTo>
                <a:cubicBezTo>
                  <a:pt x="135" y="86"/>
                  <a:pt x="141" y="91"/>
                  <a:pt x="149" y="93"/>
                </a:cubicBezTo>
                <a:cubicBezTo>
                  <a:pt x="149" y="93"/>
                  <a:pt x="149" y="93"/>
                  <a:pt x="149" y="363"/>
                </a:cubicBezTo>
                <a:cubicBezTo>
                  <a:pt x="149" y="363"/>
                  <a:pt x="149" y="363"/>
                  <a:pt x="67" y="363"/>
                </a:cubicBezTo>
                <a:cubicBezTo>
                  <a:pt x="63" y="363"/>
                  <a:pt x="60" y="367"/>
                  <a:pt x="60" y="371"/>
                </a:cubicBezTo>
                <a:cubicBezTo>
                  <a:pt x="60" y="375"/>
                  <a:pt x="63" y="379"/>
                  <a:pt x="67" y="379"/>
                </a:cubicBezTo>
                <a:close/>
                <a:moveTo>
                  <a:pt x="142" y="64"/>
                </a:moveTo>
                <a:cubicBezTo>
                  <a:pt x="142" y="56"/>
                  <a:pt x="149" y="50"/>
                  <a:pt x="157" y="50"/>
                </a:cubicBezTo>
                <a:cubicBezTo>
                  <a:pt x="164" y="50"/>
                  <a:pt x="171" y="56"/>
                  <a:pt x="171" y="64"/>
                </a:cubicBezTo>
                <a:cubicBezTo>
                  <a:pt x="171" y="72"/>
                  <a:pt x="164" y="78"/>
                  <a:pt x="157" y="78"/>
                </a:cubicBezTo>
                <a:cubicBezTo>
                  <a:pt x="149" y="78"/>
                  <a:pt x="142" y="72"/>
                  <a:pt x="142" y="64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90" name="Freeform 104">
            <a:extLst>
              <a:ext uri="{FF2B5EF4-FFF2-40B4-BE49-F238E27FC236}">
                <a16:creationId xmlns:a16="http://schemas.microsoft.com/office/drawing/2014/main" id="{6CEEDA3C-F21B-A840-8B3B-2FD94B2E3FD8}"/>
              </a:ext>
            </a:extLst>
          </p:cNvPr>
          <p:cNvSpPr>
            <a:spLocks noEditPoints="1"/>
          </p:cNvSpPr>
          <p:nvPr/>
        </p:nvSpPr>
        <p:spPr bwMode="auto">
          <a:xfrm>
            <a:off x="7236720" y="2805589"/>
            <a:ext cx="287182" cy="443081"/>
          </a:xfrm>
          <a:custGeom>
            <a:avLst/>
            <a:gdLst>
              <a:gd name="T0" fmla="*/ 140 w 145"/>
              <a:gd name="T1" fmla="*/ 181 h 224"/>
              <a:gd name="T2" fmla="*/ 144 w 145"/>
              <a:gd name="T3" fmla="*/ 164 h 224"/>
              <a:gd name="T4" fmla="*/ 144 w 145"/>
              <a:gd name="T5" fmla="*/ 163 h 224"/>
              <a:gd name="T6" fmla="*/ 142 w 145"/>
              <a:gd name="T7" fmla="*/ 150 h 224"/>
              <a:gd name="T8" fmla="*/ 89 w 145"/>
              <a:gd name="T9" fmla="*/ 14 h 224"/>
              <a:gd name="T10" fmla="*/ 79 w 145"/>
              <a:gd name="T11" fmla="*/ 3 h 224"/>
              <a:gd name="T12" fmla="*/ 59 w 145"/>
              <a:gd name="T13" fmla="*/ 13 h 224"/>
              <a:gd name="T14" fmla="*/ 59 w 145"/>
              <a:gd name="T15" fmla="*/ 14 h 224"/>
              <a:gd name="T16" fmla="*/ 32 w 145"/>
              <a:gd name="T17" fmla="*/ 82 h 224"/>
              <a:gd name="T18" fmla="*/ 3 w 145"/>
              <a:gd name="T19" fmla="*/ 152 h 224"/>
              <a:gd name="T20" fmla="*/ 1 w 145"/>
              <a:gd name="T21" fmla="*/ 163 h 224"/>
              <a:gd name="T22" fmla="*/ 1 w 145"/>
              <a:gd name="T23" fmla="*/ 164 h 224"/>
              <a:gd name="T24" fmla="*/ 5 w 145"/>
              <a:gd name="T25" fmla="*/ 180 h 224"/>
              <a:gd name="T26" fmla="*/ 72 w 145"/>
              <a:gd name="T27" fmla="*/ 224 h 224"/>
              <a:gd name="T28" fmla="*/ 140 w 145"/>
              <a:gd name="T29" fmla="*/ 181 h 224"/>
              <a:gd name="T30" fmla="*/ 46 w 145"/>
              <a:gd name="T31" fmla="*/ 88 h 224"/>
              <a:gd name="T32" fmla="*/ 74 w 145"/>
              <a:gd name="T33" fmla="*/ 19 h 224"/>
              <a:gd name="T34" fmla="*/ 127 w 145"/>
              <a:gd name="T35" fmla="*/ 156 h 224"/>
              <a:gd name="T36" fmla="*/ 18 w 145"/>
              <a:gd name="T37" fmla="*/ 156 h 224"/>
              <a:gd name="T38" fmla="*/ 46 w 145"/>
              <a:gd name="T39" fmla="*/ 88 h 224"/>
              <a:gd name="T40" fmla="*/ 19 w 145"/>
              <a:gd name="T41" fmla="*/ 173 h 224"/>
              <a:gd name="T42" fmla="*/ 18 w 145"/>
              <a:gd name="T43" fmla="*/ 172 h 224"/>
              <a:gd name="T44" fmla="*/ 127 w 145"/>
              <a:gd name="T45" fmla="*/ 172 h 224"/>
              <a:gd name="T46" fmla="*/ 126 w 145"/>
              <a:gd name="T47" fmla="*/ 174 h 224"/>
              <a:gd name="T48" fmla="*/ 72 w 145"/>
              <a:gd name="T49" fmla="*/ 209 h 224"/>
              <a:gd name="T50" fmla="*/ 19 w 145"/>
              <a:gd name="T51" fmla="*/ 173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5" h="224">
                <a:moveTo>
                  <a:pt x="140" y="181"/>
                </a:moveTo>
                <a:cubicBezTo>
                  <a:pt x="143" y="175"/>
                  <a:pt x="145" y="169"/>
                  <a:pt x="144" y="164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4" y="159"/>
                  <a:pt x="143" y="155"/>
                  <a:pt x="142" y="150"/>
                </a:cubicBezTo>
                <a:cubicBezTo>
                  <a:pt x="142" y="150"/>
                  <a:pt x="142" y="150"/>
                  <a:pt x="89" y="14"/>
                </a:cubicBezTo>
                <a:cubicBezTo>
                  <a:pt x="88" y="9"/>
                  <a:pt x="84" y="5"/>
                  <a:pt x="79" y="3"/>
                </a:cubicBezTo>
                <a:cubicBezTo>
                  <a:pt x="71" y="0"/>
                  <a:pt x="62" y="5"/>
                  <a:pt x="59" y="13"/>
                </a:cubicBezTo>
                <a:cubicBezTo>
                  <a:pt x="59" y="13"/>
                  <a:pt x="59" y="13"/>
                  <a:pt x="59" y="14"/>
                </a:cubicBezTo>
                <a:cubicBezTo>
                  <a:pt x="50" y="40"/>
                  <a:pt x="41" y="61"/>
                  <a:pt x="32" y="82"/>
                </a:cubicBezTo>
                <a:cubicBezTo>
                  <a:pt x="22" y="102"/>
                  <a:pt x="13" y="124"/>
                  <a:pt x="3" y="152"/>
                </a:cubicBezTo>
                <a:cubicBezTo>
                  <a:pt x="2" y="156"/>
                  <a:pt x="1" y="159"/>
                  <a:pt x="1" y="163"/>
                </a:cubicBezTo>
                <a:cubicBezTo>
                  <a:pt x="1" y="163"/>
                  <a:pt x="1" y="163"/>
                  <a:pt x="1" y="164"/>
                </a:cubicBezTo>
                <a:cubicBezTo>
                  <a:pt x="0" y="170"/>
                  <a:pt x="2" y="175"/>
                  <a:pt x="5" y="180"/>
                </a:cubicBezTo>
                <a:cubicBezTo>
                  <a:pt x="19" y="208"/>
                  <a:pt x="44" y="224"/>
                  <a:pt x="72" y="224"/>
                </a:cubicBezTo>
                <a:cubicBezTo>
                  <a:pt x="100" y="224"/>
                  <a:pt x="125" y="208"/>
                  <a:pt x="140" y="181"/>
                </a:cubicBezTo>
                <a:close/>
                <a:moveTo>
                  <a:pt x="46" y="88"/>
                </a:moveTo>
                <a:cubicBezTo>
                  <a:pt x="55" y="67"/>
                  <a:pt x="65" y="46"/>
                  <a:pt x="74" y="19"/>
                </a:cubicBezTo>
                <a:cubicBezTo>
                  <a:pt x="74" y="19"/>
                  <a:pt x="74" y="19"/>
                  <a:pt x="127" y="156"/>
                </a:cubicBezTo>
                <a:cubicBezTo>
                  <a:pt x="127" y="156"/>
                  <a:pt x="127" y="156"/>
                  <a:pt x="18" y="156"/>
                </a:cubicBezTo>
                <a:cubicBezTo>
                  <a:pt x="27" y="130"/>
                  <a:pt x="37" y="108"/>
                  <a:pt x="46" y="88"/>
                </a:cubicBezTo>
                <a:close/>
                <a:moveTo>
                  <a:pt x="19" y="173"/>
                </a:moveTo>
                <a:cubicBezTo>
                  <a:pt x="18" y="173"/>
                  <a:pt x="18" y="172"/>
                  <a:pt x="18" y="172"/>
                </a:cubicBezTo>
                <a:cubicBezTo>
                  <a:pt x="127" y="172"/>
                  <a:pt x="127" y="172"/>
                  <a:pt x="127" y="172"/>
                </a:cubicBezTo>
                <a:cubicBezTo>
                  <a:pt x="127" y="172"/>
                  <a:pt x="126" y="173"/>
                  <a:pt x="126" y="174"/>
                </a:cubicBezTo>
                <a:cubicBezTo>
                  <a:pt x="114" y="196"/>
                  <a:pt x="94" y="209"/>
                  <a:pt x="72" y="209"/>
                </a:cubicBezTo>
                <a:cubicBezTo>
                  <a:pt x="50" y="209"/>
                  <a:pt x="30" y="195"/>
                  <a:pt x="19" y="173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E88E9833-2640-2D48-9BC2-ED09A5876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6" y="958738"/>
            <a:ext cx="3535512" cy="1081088"/>
          </a:xfrm>
        </p:spPr>
        <p:txBody>
          <a:bodyPr/>
          <a:lstStyle/>
          <a:p>
            <a:r>
              <a:rPr lang="sv-SE" dirty="0"/>
              <a:t>From </a:t>
            </a:r>
            <a:r>
              <a:rPr lang="sv-SE" dirty="0" err="1"/>
              <a:t>IoT</a:t>
            </a:r>
            <a:r>
              <a:rPr lang="sv-SE" dirty="0"/>
              <a:t> to </a:t>
            </a:r>
            <a:r>
              <a:rPr lang="sv-SE" dirty="0" err="1"/>
              <a:t>Ecosyst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921135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745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ÅF">
  <a:themeElements>
    <a:clrScheme name="ÅF_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DD0D0"/>
      </a:accent1>
      <a:accent2>
        <a:srgbClr val="505050"/>
      </a:accent2>
      <a:accent3>
        <a:srgbClr val="000000"/>
      </a:accent3>
      <a:accent4>
        <a:srgbClr val="405040"/>
      </a:accent4>
      <a:accent5>
        <a:srgbClr val="405070"/>
      </a:accent5>
      <a:accent6>
        <a:srgbClr val="504030"/>
      </a:accent6>
      <a:hlink>
        <a:srgbClr val="0563C1"/>
      </a:hlink>
      <a:folHlink>
        <a:srgbClr val="954F72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ÅF.potx" id="{5C6B743D-9AA7-4F7F-A7EB-73D3FBC0E825}" vid="{45241043-CA90-4C2C-9CF8-CDE2BCDA1C54}"/>
    </a:ext>
  </a:extLst>
</a:theme>
</file>

<file path=ppt/theme/theme2.xml><?xml version="1.0" encoding="utf-8"?>
<a:theme xmlns:a="http://schemas.openxmlformats.org/drawingml/2006/main" name="1_ÅF">
  <a:themeElements>
    <a:clrScheme name="ÅF_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DD0D0"/>
      </a:accent1>
      <a:accent2>
        <a:srgbClr val="505050"/>
      </a:accent2>
      <a:accent3>
        <a:srgbClr val="000000"/>
      </a:accent3>
      <a:accent4>
        <a:srgbClr val="405040"/>
      </a:accent4>
      <a:accent5>
        <a:srgbClr val="405070"/>
      </a:accent5>
      <a:accent6>
        <a:srgbClr val="504030"/>
      </a:accent6>
      <a:hlink>
        <a:srgbClr val="0563C1"/>
      </a:hlink>
      <a:folHlink>
        <a:srgbClr val="954F72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e presentation 2018.pptx" id="{74A9B1ED-D1EB-4B20-8811-41B254924C6E}" vid="{87D6203F-E258-443A-A235-0571C96293C4}"/>
    </a:ext>
  </a:extLst>
</a:theme>
</file>

<file path=ppt/theme/theme3.xml><?xml version="1.0" encoding="utf-8"?>
<a:theme xmlns:a="http://schemas.openxmlformats.org/drawingml/2006/main" name="2_ÅF">
  <a:themeElements>
    <a:clrScheme name="ÅF_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DD0D0"/>
      </a:accent1>
      <a:accent2>
        <a:srgbClr val="505050"/>
      </a:accent2>
      <a:accent3>
        <a:srgbClr val="000000"/>
      </a:accent3>
      <a:accent4>
        <a:srgbClr val="405040"/>
      </a:accent4>
      <a:accent5>
        <a:srgbClr val="405070"/>
      </a:accent5>
      <a:accent6>
        <a:srgbClr val="504030"/>
      </a:accent6>
      <a:hlink>
        <a:srgbClr val="0563C1"/>
      </a:hlink>
      <a:folHlink>
        <a:srgbClr val="954F72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ÅF.potx" id="{5C6B743D-9AA7-4F7F-A7EB-73D3FBC0E825}" vid="{45241043-CA90-4C2C-9CF8-CDE2BCDA1C5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ÅF_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ÅF_Color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ToArchive xmlns="e6ec678c-9e7a-45b6-879d-42b5de9d141d">false</PublishToArchive>
    <_dlc_DocId xmlns="d6957a4b-49d4-41cf-8f26-1eb8c8a1f917">MKAFUNWME5VC-2-6300</_dlc_DocId>
    <_dlc_DocIdUrl xmlns="d6957a4b-49d4-41cf-8f26-1eb8c8a1f917">
      <Url>https://one.afconsult.com/projects/1753/_layouts/DocIdRedir.aspx?ID=MKAFUNWME5VC-2-6300</Url>
      <Description>MKAFUNWME5VC-2-6300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owerpoint document" ma:contentTypeID="0x010100DA53C353D32B2D42B0AE2EF55A68ED8D1200640AEF6CCD69204A804BD991B64A5FCF" ma:contentTypeVersion="2" ma:contentTypeDescription="" ma:contentTypeScope="" ma:versionID="b867076e14bd09049c44a21bf87f1517">
  <xsd:schema xmlns:xsd="http://www.w3.org/2001/XMLSchema" xmlns:xs="http://www.w3.org/2001/XMLSchema" xmlns:p="http://schemas.microsoft.com/office/2006/metadata/properties" xmlns:ns2="e6ec678c-9e7a-45b6-879d-42b5de9d141d" xmlns:ns3="d6957a4b-49d4-41cf-8f26-1eb8c8a1f917" targetNamespace="http://schemas.microsoft.com/office/2006/metadata/properties" ma:root="true" ma:fieldsID="4ef3d8a14e2d011f35079090f3d9376f" ns2:_="" ns3:_="">
    <xsd:import namespace="e6ec678c-9e7a-45b6-879d-42b5de9d141d"/>
    <xsd:import namespace="d6957a4b-49d4-41cf-8f26-1eb8c8a1f917"/>
    <xsd:element name="properties">
      <xsd:complexType>
        <xsd:sequence>
          <xsd:element name="documentManagement">
            <xsd:complexType>
              <xsd:all>
                <xsd:element ref="ns2:PublishToArchive" minOccurs="0"/>
                <xsd:element ref="ns2:DocPublishedDate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ec678c-9e7a-45b6-879d-42b5de9d141d" elementFormDefault="qualified">
    <xsd:import namespace="http://schemas.microsoft.com/office/2006/documentManagement/types"/>
    <xsd:import namespace="http://schemas.microsoft.com/office/infopath/2007/PartnerControls"/>
    <xsd:element name="PublishToArchive" ma:index="2" nillable="true" ma:displayName="Publish" ma:default="0" ma:internalName="PublishToArchive">
      <xsd:simpleType>
        <xsd:restriction base="dms:Boolean"/>
      </xsd:simpleType>
    </xsd:element>
    <xsd:element name="DocPublishedDate" ma:index="3" nillable="true" ma:displayName="Published Date" ma:internalName="DocPublished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957a4b-49d4-41cf-8f26-1eb8c8a1f917" elementFormDefault="qualified">
    <xsd:import namespace="http://schemas.microsoft.com/office/2006/documentManagement/types"/>
    <xsd:import namespace="http://schemas.microsoft.com/office/infopath/2007/PartnerControls"/>
    <xsd:element name="_dlc_DocId" ma:index="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BC084E0-8779-421A-BE9C-DDD593DB325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e6ec678c-9e7a-45b6-879d-42b5de9d141d"/>
    <ds:schemaRef ds:uri="http://purl.org/dc/terms/"/>
    <ds:schemaRef ds:uri="d6957a4b-49d4-41cf-8f26-1eb8c8a1f917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70685A6-07CC-48ED-94ED-2996677C82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ec678c-9e7a-45b6-879d-42b5de9d141d"/>
    <ds:schemaRef ds:uri="d6957a4b-49d4-41cf-8f26-1eb8c8a1f9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6E38678-B8F7-418E-A483-CC00FB74589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ÅF</Template>
  <TotalTime>0</TotalTime>
  <Words>203</Words>
  <Application>Microsoft Office PowerPoint</Application>
  <PresentationFormat>Widescreen</PresentationFormat>
  <Paragraphs>67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Verdana</vt:lpstr>
      <vt:lpstr>ÅF</vt:lpstr>
      <vt:lpstr>1_ÅF</vt:lpstr>
      <vt:lpstr>2_ÅF</vt:lpstr>
      <vt:lpstr>think-cell Slide</vt:lpstr>
      <vt:lpstr>Making Future</vt:lpstr>
      <vt:lpstr>We’re an engineering and design company</vt:lpstr>
      <vt:lpstr>Providing leading solutions for generations to come.</vt:lpstr>
      <vt:lpstr>We create sustainable engineering and design solutions</vt:lpstr>
      <vt:lpstr>PowerPoint Presentation</vt:lpstr>
      <vt:lpstr>Our solutions respond to global trends</vt:lpstr>
      <vt:lpstr>From IoT to Ecosystem</vt:lpstr>
      <vt:lpstr>From IoT to Ecosystem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icrosoft Office-användare</dc:creator>
  <cp:lastModifiedBy>Adam Areej</cp:lastModifiedBy>
  <cp:revision>237</cp:revision>
  <cp:lastPrinted>2018-01-16T10:23:56Z</cp:lastPrinted>
  <dcterms:created xsi:type="dcterms:W3CDTF">2018-02-08T08:53:51Z</dcterms:created>
  <dcterms:modified xsi:type="dcterms:W3CDTF">2019-11-28T09:1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53C353D32B2D42B0AE2EF55A68ED8D1200640AEF6CCD69204A804BD991B64A5FCF</vt:lpwstr>
  </property>
  <property fmtid="{D5CDD505-2E9C-101B-9397-08002B2CF9AE}" pid="3" name="_dlc_DocIdItemGuid">
    <vt:lpwstr>b80a724d-62e7-49a9-b7fa-04681ece4893</vt:lpwstr>
  </property>
</Properties>
</file>